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wmf" ContentType="image/x-wmf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notesSlides/notesSlide5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33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7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11.xml" ContentType="application/vnd.openxmlformats-officedocument.presentationml.notesSlide+xml"/>
  <Override PartName="/ppt/slideLayouts/slideLayout3.xml" ContentType="application/vnd.openxmlformats-officedocument.presentationml.slideLayout+xml"/>
  <Override PartName="/ppt/notesSlides/notesSlide12.xml" ContentType="application/vnd.openxmlformats-officedocument.presentationml.notesSlide+xml"/>
  <Override PartName="/ppt/slideLayouts/slideLayout4.xml" ContentType="application/vnd.openxmlformats-officedocument.presentationml.slideLayout+xml"/>
  <Override PartName="/ppt/notesSlides/notesSlide31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theme/theme9.xml" ContentType="application/vnd.openxmlformats-officedocument.theme+xml"/>
  <Override PartName="/ppt/authors.xml" ContentType="application/vnd.ms-powerpoint.authors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revisionInfo.xml" ContentType="application/vnd.ms-powerpoint.revisioninfo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75" r:id="rId3"/>
    <p:sldMasterId id="2147483677" r:id="rId4"/>
    <p:sldMasterId id="2147483679" r:id="rId5"/>
    <p:sldMasterId id="2147483681" r:id="rId6"/>
    <p:sldMasterId id="2147483683" r:id="rId7"/>
    <p:sldMasterId id="2147483685" r:id="rId8"/>
  </p:sldMasterIdLst>
  <p:notesMasterIdLst>
    <p:notesMasterId r:id="rId63"/>
  </p:notesMasterIdLst>
  <p:sldIdLst>
    <p:sldId id="261" r:id="rId9"/>
    <p:sldId id="256" r:id="rId10"/>
    <p:sldId id="332" r:id="rId11"/>
    <p:sldId id="343" r:id="rId12"/>
    <p:sldId id="355" r:id="rId13"/>
    <p:sldId id="335" r:id="rId14"/>
    <p:sldId id="361" r:id="rId15"/>
    <p:sldId id="357" r:id="rId16"/>
    <p:sldId id="362" r:id="rId17"/>
    <p:sldId id="358" r:id="rId18"/>
    <p:sldId id="365" r:id="rId19"/>
    <p:sldId id="363" r:id="rId20"/>
    <p:sldId id="366" r:id="rId21"/>
    <p:sldId id="360" r:id="rId22"/>
    <p:sldId id="368" r:id="rId23"/>
    <p:sldId id="359" r:id="rId24"/>
    <p:sldId id="369" r:id="rId25"/>
    <p:sldId id="342" r:id="rId26"/>
    <p:sldId id="354" r:id="rId27"/>
    <p:sldId id="356" r:id="rId28"/>
    <p:sldId id="344" r:id="rId29"/>
    <p:sldId id="345" r:id="rId30"/>
    <p:sldId id="346" r:id="rId31"/>
    <p:sldId id="347" r:id="rId32"/>
    <p:sldId id="348" r:id="rId33"/>
    <p:sldId id="349" r:id="rId34"/>
    <p:sldId id="350" r:id="rId35"/>
    <p:sldId id="351" r:id="rId36"/>
    <p:sldId id="352" r:id="rId37"/>
    <p:sldId id="353" r:id="rId38"/>
    <p:sldId id="790" r:id="rId39"/>
    <p:sldId id="414" r:id="rId40"/>
    <p:sldId id="412" r:id="rId41"/>
    <p:sldId id="411" r:id="rId42"/>
    <p:sldId id="722" r:id="rId43"/>
    <p:sldId id="725" r:id="rId44"/>
    <p:sldId id="726" r:id="rId45"/>
    <p:sldId id="727" r:id="rId46"/>
    <p:sldId id="728" r:id="rId47"/>
    <p:sldId id="781" r:id="rId48"/>
    <p:sldId id="729" r:id="rId49"/>
    <p:sldId id="730" r:id="rId50"/>
    <p:sldId id="732" r:id="rId51"/>
    <p:sldId id="733" r:id="rId52"/>
    <p:sldId id="734" r:id="rId53"/>
    <p:sldId id="786" r:id="rId54"/>
    <p:sldId id="787" r:id="rId55"/>
    <p:sldId id="724" r:id="rId56"/>
    <p:sldId id="788" r:id="rId57"/>
    <p:sldId id="785" r:id="rId58"/>
    <p:sldId id="784" r:id="rId59"/>
    <p:sldId id="409" r:id="rId60"/>
    <p:sldId id="270" r:id="rId61"/>
    <p:sldId id="410" r:id="rId6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D1499C2-C762-44F6-ABD4-DAA0B44E2C7A}">
          <p14:sldIdLst>
            <p14:sldId id="261"/>
            <p14:sldId id="256"/>
            <p14:sldId id="332"/>
            <p14:sldId id="343"/>
            <p14:sldId id="355"/>
            <p14:sldId id="335"/>
            <p14:sldId id="361"/>
            <p14:sldId id="357"/>
            <p14:sldId id="362"/>
            <p14:sldId id="358"/>
            <p14:sldId id="365"/>
            <p14:sldId id="363"/>
            <p14:sldId id="366"/>
            <p14:sldId id="360"/>
            <p14:sldId id="368"/>
            <p14:sldId id="359"/>
            <p14:sldId id="369"/>
            <p14:sldId id="342"/>
            <p14:sldId id="354"/>
            <p14:sldId id="356"/>
            <p14:sldId id="344"/>
            <p14:sldId id="345"/>
            <p14:sldId id="346"/>
            <p14:sldId id="347"/>
            <p14:sldId id="348"/>
            <p14:sldId id="349"/>
            <p14:sldId id="350"/>
            <p14:sldId id="351"/>
            <p14:sldId id="352"/>
            <p14:sldId id="353"/>
            <p14:sldId id="790"/>
            <p14:sldId id="414"/>
            <p14:sldId id="412"/>
            <p14:sldId id="411"/>
            <p14:sldId id="722"/>
            <p14:sldId id="725"/>
            <p14:sldId id="726"/>
            <p14:sldId id="727"/>
            <p14:sldId id="728"/>
            <p14:sldId id="781"/>
            <p14:sldId id="729"/>
            <p14:sldId id="730"/>
            <p14:sldId id="732"/>
            <p14:sldId id="733"/>
            <p14:sldId id="734"/>
            <p14:sldId id="786"/>
            <p14:sldId id="787"/>
            <p14:sldId id="724"/>
            <p14:sldId id="788"/>
            <p14:sldId id="785"/>
            <p14:sldId id="784"/>
            <p14:sldId id="409"/>
            <p14:sldId id="270"/>
            <p14:sldId id="410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198636-F2C7-7B70-F254-6EC543F002AA}" name="Julie Luht" initials="JL" userId="S::jluht@humanitas.com::eac1ece3-a076-4aef-9b22-77d15757e7c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3333FF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0D0145-582C-4E77-851A-404697FCAAA0}" v="92" dt="2024-05-29T17:30:46.9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0163" autoAdjust="0"/>
    <p:restoredTop sz="78067" autoAdjust="0"/>
  </p:normalViewPr>
  <p:slideViewPr>
    <p:cSldViewPr snapToGrid="0">
      <p:cViewPr varScale="1">
        <p:scale>
          <a:sx n="56" d="100"/>
          <a:sy n="56" d="100"/>
        </p:scale>
        <p:origin x="570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102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notesMaster" Target="notesMasters/notesMaster1.xml"/><Relationship Id="rId6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presProps" Target="presProps.xml"/><Relationship Id="rId69" Type="http://schemas.microsoft.com/office/2018/10/relationships/authors" Target="author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customXml" Target="../customXml/item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tableStyles" Target="tableStyle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viewProps" Target="viewProps.xml"/><Relationship Id="rId73" Type="http://schemas.openxmlformats.org/officeDocument/2006/relationships/customXml" Target="../customXml/item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" Type="http://schemas.openxmlformats.org/officeDocument/2006/relationships/slideMaster" Target="slideMasters/slideMaster7.xml"/><Relationship Id="rId71" Type="http://schemas.openxmlformats.org/officeDocument/2006/relationships/customXml" Target="../customXml/item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04F54-F98E-43EC-8676-41DB66235A40}" type="datetimeFigureOut">
              <a:rPr lang="en-US" smtClean="0"/>
              <a:t>5/2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4D3DB7-ABF3-401D-AF1F-9727A735F49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799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723138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18741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18255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9581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09098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15117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06913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wassan virus- no human diseases in U.S. reported; Ixodes Scapularis tick</a:t>
            </a:r>
          </a:p>
          <a:p>
            <a:r>
              <a:rPr lang="en-US" dirty="0"/>
              <a:t>Colorado tick fever virus- endemic in areas at 4,000-10,000 feet – Dermacentor </a:t>
            </a:r>
            <a:r>
              <a:rPr lang="en-US" dirty="0" err="1"/>
              <a:t>andersoni</a:t>
            </a:r>
            <a:r>
              <a:rPr lang="en-US" dirty="0"/>
              <a:t> tick</a:t>
            </a:r>
          </a:p>
          <a:p>
            <a:r>
              <a:rPr lang="en-US" dirty="0"/>
              <a:t>Heart land Virus – </a:t>
            </a:r>
            <a:r>
              <a:rPr lang="en-US" dirty="0" err="1"/>
              <a:t>amblyomma</a:t>
            </a:r>
            <a:r>
              <a:rPr lang="en-US" dirty="0"/>
              <a:t> Americanum (lone star tick); 1</a:t>
            </a:r>
            <a:r>
              <a:rPr lang="en-US" baseline="30000" dirty="0"/>
              <a:t>st</a:t>
            </a:r>
            <a:r>
              <a:rPr lang="en-US" dirty="0"/>
              <a:t> human case 2009 in Missouri, over 50 cases since</a:t>
            </a:r>
          </a:p>
          <a:p>
            <a:r>
              <a:rPr lang="en-US" dirty="0"/>
              <a:t>Bourbon virus- lone star tick; 1</a:t>
            </a:r>
            <a:r>
              <a:rPr lang="en-US" baseline="30000" dirty="0"/>
              <a:t>st</a:t>
            </a:r>
            <a:r>
              <a:rPr lang="en-US" dirty="0"/>
              <a:t> case in 2014 in patient with history of tick bite; limited number of cases si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3432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owassan virus- no human diseases in U.S. reported; Ixodes Scapularis tick</a:t>
            </a:r>
          </a:p>
          <a:p>
            <a:r>
              <a:rPr lang="en-US" dirty="0"/>
              <a:t>Colorado tick fever virus- endemic in areas at 4,000-10,000 feet – Dermacentor </a:t>
            </a:r>
            <a:r>
              <a:rPr lang="en-US" dirty="0" err="1"/>
              <a:t>andersoni</a:t>
            </a:r>
            <a:r>
              <a:rPr lang="en-US" dirty="0"/>
              <a:t> tick</a:t>
            </a:r>
          </a:p>
          <a:p>
            <a:r>
              <a:rPr lang="en-US" dirty="0"/>
              <a:t>Heart land Virus – </a:t>
            </a:r>
            <a:r>
              <a:rPr lang="en-US" dirty="0" err="1"/>
              <a:t>amblyomma</a:t>
            </a:r>
            <a:r>
              <a:rPr lang="en-US" dirty="0"/>
              <a:t> Americanum (lone star tick); 1</a:t>
            </a:r>
            <a:r>
              <a:rPr lang="en-US" baseline="30000" dirty="0"/>
              <a:t>st</a:t>
            </a:r>
            <a:r>
              <a:rPr lang="en-US" dirty="0"/>
              <a:t> human case 2009 in Missouri, over 50 cases since</a:t>
            </a:r>
          </a:p>
          <a:p>
            <a:r>
              <a:rPr lang="en-US" dirty="0"/>
              <a:t>Bourbon virus- lone star tick; 1</a:t>
            </a:r>
            <a:r>
              <a:rPr lang="en-US" baseline="30000" dirty="0"/>
              <a:t>st</a:t>
            </a:r>
            <a:r>
              <a:rPr lang="en-US" dirty="0"/>
              <a:t> case in 2014 in patient with history of tick bite; limited number of cases si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4153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46301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57020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66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15526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44348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855066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81072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95814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509180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21724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6487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3003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66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89966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D3DB7-ABF3-401D-AF1F-9727A735F494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49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ce95hc.G-C:Kyq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80729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Slide Image Placeholder 1">
            <a:extLst>
              <a:ext uri="{FF2B5EF4-FFF2-40B4-BE49-F238E27FC236}">
                <a16:creationId xmlns:a16="http://schemas.microsoft.com/office/drawing/2014/main" id="{DEAADB74-A6B8-A98A-95E3-FC0C9670042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4995" name="Notes Placeholder 2">
            <a:extLst>
              <a:ext uri="{FF2B5EF4-FFF2-40B4-BE49-F238E27FC236}">
                <a16:creationId xmlns:a16="http://schemas.microsoft.com/office/drawing/2014/main" id="{E6023809-9BA3-9051-162C-2F5EA2496A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70345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Slide Image Placeholder 1">
            <a:extLst>
              <a:ext uri="{FF2B5EF4-FFF2-40B4-BE49-F238E27FC236}">
                <a16:creationId xmlns:a16="http://schemas.microsoft.com/office/drawing/2014/main" id="{409576E7-C162-4124-DCCC-44B56E241CC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7043" name="Notes Placeholder 2">
            <a:extLst>
              <a:ext uri="{FF2B5EF4-FFF2-40B4-BE49-F238E27FC236}">
                <a16:creationId xmlns:a16="http://schemas.microsoft.com/office/drawing/2014/main" id="{CE69B98C-14E4-7112-BE4B-318CDD6CEE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744877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lide Image Placeholder 1">
            <a:extLst>
              <a:ext uri="{FF2B5EF4-FFF2-40B4-BE49-F238E27FC236}">
                <a16:creationId xmlns:a16="http://schemas.microsoft.com/office/drawing/2014/main" id="{161278B5-7B92-18D9-78A2-D87959F2587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9091" name="Notes Placeholder 2">
            <a:extLst>
              <a:ext uri="{FF2B5EF4-FFF2-40B4-BE49-F238E27FC236}">
                <a16:creationId xmlns:a16="http://schemas.microsoft.com/office/drawing/2014/main" id="{A7A5AE54-FFA4-9999-3FF5-4E24D017C0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3392333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Slide Image Placeholder 1">
            <a:extLst>
              <a:ext uri="{FF2B5EF4-FFF2-40B4-BE49-F238E27FC236}">
                <a16:creationId xmlns:a16="http://schemas.microsoft.com/office/drawing/2014/main" id="{3B4EEC88-83E4-7E84-9834-29C8FB928F5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1139" name="Notes Placeholder 2">
            <a:extLst>
              <a:ext uri="{FF2B5EF4-FFF2-40B4-BE49-F238E27FC236}">
                <a16:creationId xmlns:a16="http://schemas.microsoft.com/office/drawing/2014/main" id="{E68FAE5B-C05A-B448-B9BF-A66DB375C1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1707290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Slide Image Placeholder 1">
            <a:extLst>
              <a:ext uri="{FF2B5EF4-FFF2-40B4-BE49-F238E27FC236}">
                <a16:creationId xmlns:a16="http://schemas.microsoft.com/office/drawing/2014/main" id="{45712A5E-163E-C906-6BB1-1304A9DF2B5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187" name="Notes Placeholder 2">
            <a:extLst>
              <a:ext uri="{FF2B5EF4-FFF2-40B4-BE49-F238E27FC236}">
                <a16:creationId xmlns:a16="http://schemas.microsoft.com/office/drawing/2014/main" id="{AF83CA56-EA63-E4D4-0AA2-ED390FF3ED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3943652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>
            <a:extLst>
              <a:ext uri="{FF2B5EF4-FFF2-40B4-BE49-F238E27FC236}">
                <a16:creationId xmlns:a16="http://schemas.microsoft.com/office/drawing/2014/main" id="{40F1A231-A70F-5982-096E-B7BB53E0BE6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5235" name="Notes Placeholder 2">
            <a:extLst>
              <a:ext uri="{FF2B5EF4-FFF2-40B4-BE49-F238E27FC236}">
                <a16:creationId xmlns:a16="http://schemas.microsoft.com/office/drawing/2014/main" id="{52E1664F-863B-41F8-ED54-799597FAE0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860644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Slide Image Placeholder 1">
            <a:extLst>
              <a:ext uri="{FF2B5EF4-FFF2-40B4-BE49-F238E27FC236}">
                <a16:creationId xmlns:a16="http://schemas.microsoft.com/office/drawing/2014/main" id="{060C97C3-20EB-CAE3-2539-6D9E7BC6585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283" name="Notes Placeholder 2">
            <a:extLst>
              <a:ext uri="{FF2B5EF4-FFF2-40B4-BE49-F238E27FC236}">
                <a16:creationId xmlns:a16="http://schemas.microsoft.com/office/drawing/2014/main" id="{DE739030-7831-EB03-6EE5-7DA901A74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1323616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Slide Image Placeholder 1">
            <a:extLst>
              <a:ext uri="{FF2B5EF4-FFF2-40B4-BE49-F238E27FC236}">
                <a16:creationId xmlns:a16="http://schemas.microsoft.com/office/drawing/2014/main" id="{EA254AF1-9D02-C063-CC4B-17069C61623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9331" name="Notes Placeholder 2">
            <a:extLst>
              <a:ext uri="{FF2B5EF4-FFF2-40B4-BE49-F238E27FC236}">
                <a16:creationId xmlns:a16="http://schemas.microsoft.com/office/drawing/2014/main" id="{E2E0B38F-200D-2E73-26F8-040B7B765B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7489359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Slide Image Placeholder 1">
            <a:extLst>
              <a:ext uri="{FF2B5EF4-FFF2-40B4-BE49-F238E27FC236}">
                <a16:creationId xmlns:a16="http://schemas.microsoft.com/office/drawing/2014/main" id="{02A72769-5686-4824-BEF6-1107CD6A3F1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1379" name="Notes Placeholder 2">
            <a:extLst>
              <a:ext uri="{FF2B5EF4-FFF2-40B4-BE49-F238E27FC236}">
                <a16:creationId xmlns:a16="http://schemas.microsoft.com/office/drawing/2014/main" id="{0BCAF1DE-35C3-C6DD-07ED-B7940C0034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1834887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Slide Image Placeholder 1">
            <a:extLst>
              <a:ext uri="{FF2B5EF4-FFF2-40B4-BE49-F238E27FC236}">
                <a16:creationId xmlns:a16="http://schemas.microsoft.com/office/drawing/2014/main" id="{5BB888E5-5FDC-9432-2E65-329C30EF9B7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3427" name="Notes Placeholder 2">
            <a:extLst>
              <a:ext uri="{FF2B5EF4-FFF2-40B4-BE49-F238E27FC236}">
                <a16:creationId xmlns:a16="http://schemas.microsoft.com/office/drawing/2014/main" id="{25B55C9E-3FF6-75B7-2277-A2CA9609DE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902988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0061118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Slide Image Placeholder 1">
            <a:extLst>
              <a:ext uri="{FF2B5EF4-FFF2-40B4-BE49-F238E27FC236}">
                <a16:creationId xmlns:a16="http://schemas.microsoft.com/office/drawing/2014/main" id="{91CF5567-0486-7AD2-C88F-1BAB67C7321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5475" name="Notes Placeholder 2">
            <a:extLst>
              <a:ext uri="{FF2B5EF4-FFF2-40B4-BE49-F238E27FC236}">
                <a16:creationId xmlns:a16="http://schemas.microsoft.com/office/drawing/2014/main" id="{68BD1E1B-42D9-A182-10AA-5BB5948751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8581304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D3DB7-ABF3-401D-AF1F-9727A735F494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15984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Slide Image Placeholder 1">
            <a:extLst>
              <a:ext uri="{FF2B5EF4-FFF2-40B4-BE49-F238E27FC236}">
                <a16:creationId xmlns:a16="http://schemas.microsoft.com/office/drawing/2014/main" id="{1AD21115-9829-1AAE-14DB-99DD6E3FBA0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1619" name="Notes Placeholder 2">
            <a:extLst>
              <a:ext uri="{FF2B5EF4-FFF2-40B4-BE49-F238E27FC236}">
                <a16:creationId xmlns:a16="http://schemas.microsoft.com/office/drawing/2014/main" id="{24677218-BC90-87C1-97D5-9224B504BC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3359775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D3DB7-ABF3-401D-AF1F-9727A735F494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04177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4D3DB7-ABF3-401D-AF1F-9727A735F494}" type="slidenum">
              <a:rPr lang="en-US" smtClean="0"/>
              <a:t>5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98042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4" name="Google Shape;174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79861958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4" name="Google Shape;174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213783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65634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91396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88861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3959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8B0C81-658C-BC0C-983E-0292A424E3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F15091-DB3B-22FA-B81F-67C90B302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362F42-3881-9799-102F-E86AB34988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6E423C-62B4-7317-FBD6-DAAE998AEB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B95D8-32F6-4251-B6DD-11C28173D8A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379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D123054E-7245-4C0F-A7DE-0CAAD8076BF3}" type="datetime1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5/29/2024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9" name="Google Shape;19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t>9/21/2021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20" name="Google Shape;20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194686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B9DEF6-7978-E042-A0A1-33F25AC493C0}" type="datetimeFigureOut">
              <a:rPr lang="en-US" smtClean="0"/>
              <a:t>5/2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2F4E8-48B0-FE42-82AF-298EC18CB6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155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267718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4584999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9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27C2415-E118-FE4B-B334-792B5D547A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4947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C49BDE-E7B2-274B-981F-3ECE8D7E15A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409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9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0D7006E-2A4A-3745-8EAC-D216C9C29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754" y="6091354"/>
            <a:ext cx="2657821" cy="630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3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0C1DDEC-9161-534A-B683-8EE7BBE132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4409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6479AB-C233-411B-A5E3-7BC4966E8A5C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9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8CBA6-6A9E-4C95-8616-2E467D3051D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5C05780-7E01-1546-9AE3-978F0C8FF1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754" y="6091354"/>
            <a:ext cx="2657821" cy="630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3580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theme" Target="../theme/theme2.xml"/><Relationship Id="rId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heme" Target="../theme/theme5.xml"/><Relationship Id="rId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C59EA794-B7BB-4416-B3BA-38E42D8F09AA}" type="datetime1">
              <a:rPr lang="en-US" smtClean="0"/>
              <a:t>5/29/2024</a:t>
            </a:fld>
            <a:endParaRPr dirty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9/21/2021</a:t>
            </a:r>
            <a:endParaRPr dirty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6798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80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7D84E0-25D1-4ACF-96C4-492F47500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3177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7D84E0-25D1-4ACF-96C4-492F47500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663258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554480"/>
            <a:ext cx="10972800" cy="459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  <a:p>
            <a:pPr lvl="5"/>
            <a:r>
              <a:rPr lang="en-US" altLang="en-US"/>
              <a:t>Sixth level</a:t>
            </a:r>
          </a:p>
          <a:p>
            <a:pPr lvl="6"/>
            <a:r>
              <a:rPr lang="en-US" altLang="en-US"/>
              <a:t>Seventh level</a:t>
            </a:r>
          </a:p>
          <a:p>
            <a:pPr lvl="7"/>
            <a:r>
              <a:rPr lang="en-US" altLang="en-US"/>
              <a:t>Eighth level</a:t>
            </a:r>
          </a:p>
          <a:p>
            <a:pPr lvl="8"/>
            <a:r>
              <a:rPr lang="en-US" altLang="en-US"/>
              <a:t>Ninth level</a:t>
            </a:r>
          </a:p>
          <a:p>
            <a:pPr lvl="8"/>
            <a:r>
              <a:rPr lang="en-US" altLang="en-US"/>
              <a:t>Ten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1887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5789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243834" indent="-243834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87668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31502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0584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21917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4173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6459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82880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01168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554480"/>
            <a:ext cx="10972800" cy="459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  <a:p>
            <a:pPr lvl="5"/>
            <a:r>
              <a:rPr lang="en-US" altLang="en-US"/>
              <a:t>Sixth level</a:t>
            </a:r>
          </a:p>
          <a:p>
            <a:pPr lvl="6"/>
            <a:r>
              <a:rPr lang="en-US" altLang="en-US"/>
              <a:t>Seventh level</a:t>
            </a:r>
          </a:p>
          <a:p>
            <a:pPr lvl="7"/>
            <a:r>
              <a:rPr lang="en-US" altLang="en-US"/>
              <a:t>Eighth level</a:t>
            </a:r>
          </a:p>
          <a:p>
            <a:pPr lvl="8"/>
            <a:r>
              <a:rPr lang="en-US" altLang="en-US"/>
              <a:t>Ninth level</a:t>
            </a:r>
          </a:p>
          <a:p>
            <a:pPr lvl="8"/>
            <a:r>
              <a:rPr lang="en-US" altLang="en-US"/>
              <a:t>Ten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320"/>
            <a:ext cx="10972800" cy="118872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544"/>
          <a:stretch/>
        </p:blipFill>
        <p:spPr>
          <a:xfrm>
            <a:off x="0" y="6707587"/>
            <a:ext cx="12192000" cy="15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1490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eaLnBrk="1" fontAlgn="base" hangingPunct="1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243834" indent="-243834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487668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731502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0584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›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219170" indent="-243834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»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14173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64592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182880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2011680" indent="-182880" algn="l" defTabSz="1219170" rtl="0" eaLnBrk="1" latinLnBrk="0" hangingPunct="1">
        <a:spcBef>
          <a:spcPts val="0"/>
        </a:spcBef>
        <a:buClr>
          <a:schemeClr val="accent1"/>
        </a:buClr>
        <a:buSzPct val="100000"/>
        <a:buFont typeface="Arial" pitchFamily="34" charset="0"/>
        <a:buChar char="•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7D84E0-25D1-4ACF-96C4-492F47500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626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7D84E0-25D1-4ACF-96C4-492F47500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425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Line 2">
            <a:extLst>
              <a:ext uri="{FF2B5EF4-FFF2-40B4-BE49-F238E27FC236}">
                <a16:creationId xmlns:a16="http://schemas.microsoft.com/office/drawing/2014/main" id="{1524B222-E9A2-3FCE-B87F-AB28A13813AC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04" y="1371600"/>
            <a:ext cx="10641659" cy="0"/>
          </a:xfrm>
          <a:prstGeom prst="line">
            <a:avLst/>
          </a:prstGeom>
          <a:noFill/>
          <a:ln w="508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40963" name="Rectangle 3">
            <a:extLst>
              <a:ext uri="{FF2B5EF4-FFF2-40B4-BE49-F238E27FC236}">
                <a16:creationId xmlns:a16="http://schemas.microsoft.com/office/drawing/2014/main" id="{FBB6A975-716C-7014-4E42-F05E6487FCC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21171" y="266700"/>
            <a:ext cx="9211733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0964" name="Rectangle 4">
            <a:extLst>
              <a:ext uri="{FF2B5EF4-FFF2-40B4-BE49-F238E27FC236}">
                <a16:creationId xmlns:a16="http://schemas.microsoft.com/office/drawing/2014/main" id="{4EAEC21D-2AA8-F318-B912-B499A14B0E1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333971" y="1676400"/>
            <a:ext cx="9159052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1935000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2" r:id="rId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5000"/>
        <a:buFont typeface="Monotype Sorts" pitchFamily="2" charset="2"/>
        <a:buChar char="u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»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5000"/>
        <a:buFont typeface="Monotype Sorts" pitchFamily="2" charset="2"/>
        <a:buChar char="u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2">
            <a:extLst>
              <a:ext uri="{FF2B5EF4-FFF2-40B4-BE49-F238E27FC236}">
                <a16:creationId xmlns:a16="http://schemas.microsoft.com/office/drawing/2014/main" id="{C3AE9581-9FE6-6ADB-E392-B7CEA63650CE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04" y="1371600"/>
            <a:ext cx="10641659" cy="0"/>
          </a:xfrm>
          <a:prstGeom prst="line">
            <a:avLst/>
          </a:prstGeom>
          <a:noFill/>
          <a:ln w="50800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sz="1800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10F068F9-9069-DECC-773E-0EFEA6204A5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21171" y="266700"/>
            <a:ext cx="9211733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80798B87-AB76-20EB-EC83-4E56983751C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333971" y="1676400"/>
            <a:ext cx="9159052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006762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4" r:id="rId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5000"/>
        <a:buFont typeface="Monotype Sorts" pitchFamily="2" charset="2"/>
        <a:buChar char="u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»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5000"/>
        <a:buFont typeface="Monotype Sorts" pitchFamily="2" charset="2"/>
        <a:buChar char="u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0000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6479AB-C233-411B-A5E3-7BC4966E8A5C}" type="datetimeFigureOut">
              <a:rPr lang="en-US" smtClean="0"/>
              <a:pPr/>
              <a:t>5/2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88CBA6-6A9E-4C95-8616-2E467D3051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59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bg1"/>
          </a:solidFill>
          <a:latin typeface="Avenir Medium" charset="0"/>
          <a:ea typeface="Avenir Medium" charset="0"/>
          <a:cs typeface="Avenir Medium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bg1"/>
          </a:solidFill>
          <a:latin typeface="Avenir Book" charset="0"/>
          <a:ea typeface="Avenir Book" charset="0"/>
          <a:cs typeface="Avenir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train.org/cdctrain/home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ticks/hcp/data-research/tickborne-disease-reference-guide/index.html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www.cdc.gov/ticks/data-research/facts-stats/tickborne-disease-surveillance-data-summary.html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tb/hcp/testing-diagnosis/tuberculin-skin-test.html" TargetMode="External"/><Relationship Id="rId2" Type="http://schemas.openxmlformats.org/officeDocument/2006/relationships/hyperlink" Target="https://www.cdc.gov/tb/hcp/testing-diagnosis/interferon-gamma-release-assay.html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cdc.gov/tb/topic/basics/vaccines.htm" TargetMode="Externa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url?sa=i&amp;rct=j&amp;q=&amp;esrc=s&amp;frm=1&amp;source=images&amp;cd=&amp;cad=rja&amp;docid=g4SJxCC2tladoM&amp;tbnid=QGVEa_b_AS_y3M:&amp;ved=0CAUQjRw&amp;url=http%3A%2F%2Fwww.nursing-lectures.com%2F2012%2F05%2Fnursing-assessment-of-head-and-neck.html&amp;ei=A-47UfeJKue40gGS1oCACA&amp;psig=AFQjCNEkO4dGOMP_kmGzGgyiznr25dcuyQ&amp;ust=1362968345939338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jp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meet.goto.com/install" TargetMode="External"/><Relationship Id="rId5" Type="http://schemas.openxmlformats.org/officeDocument/2006/relationships/hyperlink" Target="tel:+12245013412,,604629957" TargetMode="External"/><Relationship Id="rId4" Type="http://schemas.openxmlformats.org/officeDocument/2006/relationships/hyperlink" Target="https://meet.goto.com/604629957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hyperlink" Target="https://www.cdc.gov/ticks/hcp/data-research/tickborne-disease-reference-guide/index.html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hyperlink" Target="https://www.cdc.gov/ticks/hcp/data-research/tickborne-disease-reference-guide/index.html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3"/>
          <p:cNvSpPr txBox="1">
            <a:spLocks noGrp="1"/>
          </p:cNvSpPr>
          <p:nvPr>
            <p:ph type="ctrTitle"/>
          </p:nvPr>
        </p:nvSpPr>
        <p:spPr>
          <a:xfrm>
            <a:off x="460130" y="517586"/>
            <a:ext cx="11271739" cy="18633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en-US" sz="54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Job Corps Center Physician</a:t>
            </a:r>
            <a:br>
              <a:rPr lang="en-US" sz="54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54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Monthly Teleconference</a:t>
            </a:r>
            <a:endParaRPr lang="en-US" sz="5400" dirty="0">
              <a:solidFill>
                <a:srgbClr val="C00000"/>
              </a:solidFill>
            </a:endParaRPr>
          </a:p>
        </p:txBody>
      </p:sp>
      <p:sp>
        <p:nvSpPr>
          <p:cNvPr id="89" name="Google Shape;89;p13"/>
          <p:cNvSpPr txBox="1">
            <a:spLocks noGrp="1"/>
          </p:cNvSpPr>
          <p:nvPr>
            <p:ph type="subTitle" idx="1"/>
          </p:nvPr>
        </p:nvSpPr>
        <p:spPr>
          <a:xfrm>
            <a:off x="1276709" y="2518913"/>
            <a:ext cx="8964571" cy="39336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endParaRPr lang="en-US" sz="4400" b="1" dirty="0"/>
          </a:p>
          <a:p>
            <a:pPr marL="1371600" lvl="3" indent="0" algn="l">
              <a:spcBef>
                <a:spcPts val="0"/>
              </a:spcBef>
              <a:buSzPts val="3700"/>
            </a:pPr>
            <a:r>
              <a:rPr lang="en-US" sz="4400" b="1" dirty="0"/>
              <a:t>Wednesday, May 29</a:t>
            </a:r>
            <a:r>
              <a:rPr lang="en-US" sz="4400" b="1" baseline="30000" dirty="0"/>
              <a:t>th</a:t>
            </a:r>
            <a:r>
              <a:rPr lang="en-US" sz="4400" b="1" dirty="0"/>
              <a:t>, 2024</a:t>
            </a:r>
            <a:endParaRPr lang="en-US" sz="4400" dirty="0">
              <a:solidFill>
                <a:schemeClr val="tx1"/>
              </a:solidFill>
            </a:endParaRPr>
          </a:p>
        </p:txBody>
      </p:sp>
      <p:pic>
        <p:nvPicPr>
          <p:cNvPr id="1026" name="Picture 2" descr="Job Corps | Brands of the World™ | Download vector logos and logotypes">
            <a:extLst>
              <a:ext uri="{FF2B5EF4-FFF2-40B4-BE49-F238E27FC236}">
                <a16:creationId xmlns:a16="http://schemas.microsoft.com/office/drawing/2014/main" id="{D8ECD916-5D39-4C1C-130C-F0922C41AA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4922" y="2518913"/>
            <a:ext cx="3033408" cy="3033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78868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Rickettsioses- Anaplasmosi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3"/>
            <a:ext cx="5792351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ncubation: 5-14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Fever, chills, rigors, severe headache, malaise, myalgia, GI symptoms, rash (&lt;10%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ab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Mild anemia, thrombocytopenia, leukopenia, mild/mod increase LF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DNA PCR whole blood first week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ncrease in IgG-specific Ab paired samp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CC1257-0680-BD60-5B22-C7A6F9448A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6772" y="3190037"/>
            <a:ext cx="2072820" cy="1867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9699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Rickettsioses- Anaplasmosi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579235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evere and life-threatening disease not as common as with RMSF &amp; Ehrlichiosis but do not delay treatment if suspe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reatment: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prstClr val="white"/>
                </a:solidFill>
                <a:latin typeface="Calibri"/>
              </a:rPr>
              <a:t>Docycycline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 100 mg BID oral or IV for 10-14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CC1257-0680-BD60-5B22-C7A6F9448A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76772" y="3190037"/>
            <a:ext cx="2072820" cy="1867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4037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Rickettsioses- Ehrlichiosi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6100837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ncubation: 5-14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Fever, chills, headache, malaise, muscle pain, GI symptoms, altered mental status, rash (more common in childre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ab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hrombocytopenia, leukopenia, anemia, mild/mod increase LF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DNA PCR whole bloo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gG Ab increase paired serolog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4210052-1D40-A4A7-5A92-59192F79B6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2496" y="3507846"/>
            <a:ext cx="2027096" cy="1867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915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Rickettsioses- Ehrlichiosis: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4210052-1D40-A4A7-5A92-59192F79B6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2496" y="3507846"/>
            <a:ext cx="2027096" cy="186706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9F3C88-5941-35BE-7CB0-01DF9D63EA9A}"/>
              </a:ext>
            </a:extLst>
          </p:cNvPr>
          <p:cNvSpPr txBox="1"/>
          <p:nvPr/>
        </p:nvSpPr>
        <p:spPr>
          <a:xfrm>
            <a:off x="2221660" y="1805043"/>
            <a:ext cx="577004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Confirmation based on lab testing but do not delay if suggestive clinical presentatio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reatment: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 err="1">
                <a:solidFill>
                  <a:prstClr val="white"/>
                </a:solidFill>
                <a:latin typeface="Calibri"/>
              </a:rPr>
              <a:t>Docycycline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 100 mg BID oral or IV for at least 3 days after fever subsides and evidence improvement; minimum 5-7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794972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Tularemia- </a:t>
            </a:r>
            <a:r>
              <a:rPr lang="en-US" sz="2800" dirty="0" err="1">
                <a:latin typeface="+mj-lt"/>
                <a:ea typeface="+mj-ea"/>
                <a:cs typeface="+mj-cs"/>
              </a:rPr>
              <a:t>Francisella</a:t>
            </a:r>
            <a:r>
              <a:rPr lang="en-US" sz="2800" dirty="0">
                <a:latin typeface="+mj-lt"/>
                <a:ea typeface="+mj-ea"/>
                <a:cs typeface="+mj-cs"/>
              </a:rPr>
              <a:t> tularensi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1853670" y="1704682"/>
            <a:ext cx="646142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pread by infected arthropods (deer flies, ticks), contact with infected carcasses or animals (rabbits, hares, rodents), contaminated food or inhalation of aerosol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ncubation 3-5 day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Route influences symptoms: fever, chills, headache, malaise, fatigue, anorexia, cough, sore throat, lymphadenopathy, skin ulcerations, eye symptoms, …</a:t>
            </a:r>
          </a:p>
          <a:p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5433C7-7384-D47B-5DCD-F7C342D19F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8704" y="3429001"/>
            <a:ext cx="1950889" cy="181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6580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Tularemia- </a:t>
            </a:r>
            <a:r>
              <a:rPr lang="en-US" sz="2800" dirty="0" err="1">
                <a:latin typeface="+mj-lt"/>
                <a:ea typeface="+mj-ea"/>
                <a:cs typeface="+mj-cs"/>
              </a:rPr>
              <a:t>Francisella</a:t>
            </a:r>
            <a:r>
              <a:rPr lang="en-US" sz="2800" dirty="0">
                <a:latin typeface="+mj-lt"/>
                <a:ea typeface="+mj-ea"/>
                <a:cs typeface="+mj-cs"/>
              </a:rPr>
              <a:t> tularensi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1853670" y="1704682"/>
            <a:ext cx="646142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aboratory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Hyponatremia, leukocytosis, thrombocytopenia, increase LFTs, increase creatinine kinase, Increase ESR, myoglobinuria, sterile pyuria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eroconversion IgM or IgG; DFA, PCR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*notify lab if suspec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reatment: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Gentamicin, ciprofloxacin, doxycyclin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Prophylaxis for laboratory exposure</a:t>
            </a:r>
          </a:p>
          <a:p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75433C7-7384-D47B-5DCD-F7C342D19F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8704" y="3429001"/>
            <a:ext cx="1950889" cy="1813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2177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Babesiosis (parasitic)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595961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1-4 week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Fever, chills, sweats, malaise, fatigue, myalgia, arthralgia, headache, GI, dark urine, less common: cough, sore throat, photophobia, conjunctival injection; mild splenomegaly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evere cases: thrombocytopenia, DIC, ARDS, organ failure, dea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DF82D0-DDA2-90DB-E034-0B492C35CF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83692" y="3678337"/>
            <a:ext cx="1958510" cy="179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4264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Babesiosis (parasitic)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3"/>
            <a:ext cx="595961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aboratory: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Hemolytic anemia, thrombocytopenia, </a:t>
            </a:r>
            <a:r>
              <a:rPr lang="en-US" sz="2800" dirty="0" err="1">
                <a:solidFill>
                  <a:prstClr val="white"/>
                </a:solidFill>
                <a:latin typeface="Calibri"/>
              </a:rPr>
              <a:t>elev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 CK, BUN, LFTs, proteinuria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ntraerythrocytic Babesia parasites on peripheral smea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PCR or Ig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reatment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Azithromycin &amp; atovaquon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DF82D0-DDA2-90DB-E034-0B492C35CF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83692" y="3678337"/>
            <a:ext cx="1958510" cy="179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208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CEA5695-A57A-92CC-B600-AB63BA721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395B9E-A59A-E3CF-965A-EB9434A49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>
                <a:latin typeface="+mj-lt"/>
                <a:ea typeface="+mj-ea"/>
                <a:cs typeface="+mj-cs"/>
              </a:rPr>
              <a:t>Tickborne Arboviruses in the U.S.:</a:t>
            </a:r>
            <a:endParaRPr lang="en-US" sz="2800" dirty="0">
              <a:latin typeface="+mj-lt"/>
              <a:ea typeface="+mj-ea"/>
              <a:cs typeface="+mj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E7056A1-0E74-CAA8-BE84-E72EE3835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6601" y="1776511"/>
            <a:ext cx="8178799" cy="4191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3015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CEA5695-A57A-92CC-B600-AB63BA721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395B9E-A59A-E3CF-965A-EB9434A49D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>
                <a:latin typeface="+mj-lt"/>
                <a:ea typeface="+mj-ea"/>
                <a:cs typeface="+mj-cs"/>
              </a:rPr>
              <a:t>Tickborne Arboviruses in the U.S.:</a:t>
            </a:r>
            <a:endParaRPr lang="en-US" sz="2800" dirty="0"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8695F0-9B2E-F33E-A9D0-1076116FED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6601" y="1776511"/>
            <a:ext cx="8178799" cy="419163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824E91F-F29B-83EC-04E3-F69FCCDCAA26}"/>
              </a:ext>
            </a:extLst>
          </p:cNvPr>
          <p:cNvSpPr txBox="1"/>
          <p:nvPr/>
        </p:nvSpPr>
        <p:spPr>
          <a:xfrm>
            <a:off x="1941399" y="6033185"/>
            <a:ext cx="605030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me - CDC TRAIN - an affiliate of the TRAIN Learning Network powered by the Public Health Foundation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1308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19595" y="2380923"/>
            <a:ext cx="6425012" cy="1855559"/>
          </a:xfrm>
        </p:spPr>
        <p:txBody>
          <a:bodyPr>
            <a:norm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000" b="1" cap="small" spc="50" dirty="0"/>
              <a:t>Sara Mackenzie, MD, MPH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000" b="1" cap="small" spc="50" dirty="0"/>
              <a:t>May 29, 2024</a:t>
            </a:r>
          </a:p>
        </p:txBody>
      </p:sp>
    </p:spTree>
    <p:extLst>
      <p:ext uri="{BB962C8B-B14F-4D97-AF65-F5344CB8AC3E}">
        <p14:creationId xmlns:p14="http://schemas.microsoft.com/office/powerpoint/2010/main" val="33382703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Powassan Viral Disease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791108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>
                <a:solidFill>
                  <a:prstClr val="white"/>
                </a:solidFill>
                <a:latin typeface="Calibri"/>
              </a:rPr>
              <a:t>May-November (but highest cases May and Jun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>
                <a:solidFill>
                  <a:prstClr val="white"/>
                </a:solidFill>
                <a:latin typeface="Calibri"/>
              </a:rPr>
              <a:t>Rare but cases have increased in U.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>
                <a:solidFill>
                  <a:prstClr val="white"/>
                </a:solidFill>
                <a:latin typeface="Calibri"/>
              </a:rPr>
              <a:t>Incubation: 1-4 weeks after tick bi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>
                <a:solidFill>
                  <a:prstClr val="white"/>
                </a:solidFill>
                <a:latin typeface="Calibri"/>
              </a:rPr>
              <a:t>Signs/symptoms: mild, nonspecific febrile illness to severe neuroinvasive disease (meningitis, encephaliti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>
                <a:solidFill>
                  <a:prstClr val="white"/>
                </a:solidFill>
                <a:latin typeface="Calibri"/>
              </a:rPr>
              <a:t>Complications: obstructive hydrocephalus, intraparenchymal hemorrhage, death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>
                <a:solidFill>
                  <a:prstClr val="white"/>
                </a:solidFill>
                <a:latin typeface="Calibri"/>
              </a:rPr>
              <a:t>50% with neuroinvasive have long lasting sympto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249721-62BF-95ED-C14D-6CC0ED642550}"/>
              </a:ext>
            </a:extLst>
          </p:cNvPr>
          <p:cNvSpPr txBox="1"/>
          <p:nvPr/>
        </p:nvSpPr>
        <p:spPr>
          <a:xfrm>
            <a:off x="1850173" y="6296274"/>
            <a:ext cx="54278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ckborne Diseases of the United States | Ticks | CDC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714058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Powassan Viral Disease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3"/>
            <a:ext cx="7911081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Acute febrile or neurologic illnes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Recent exposure to ticks in endemic are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Differential: west </a:t>
            </a:r>
            <a:r>
              <a:rPr lang="en-US" sz="2800" dirty="0" err="1">
                <a:solidFill>
                  <a:prstClr val="white"/>
                </a:solidFill>
                <a:latin typeface="Calibri"/>
              </a:rPr>
              <a:t>nile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800" dirty="0" err="1">
                <a:solidFill>
                  <a:prstClr val="white"/>
                </a:solidFill>
                <a:latin typeface="Calibri"/>
              </a:rPr>
              <a:t>st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 louis encephalitis, Eastern equine encephalitis, herpes virus, &amp; tickborne bacterial diseases (</a:t>
            </a:r>
            <a:r>
              <a:rPr lang="en-US" sz="2800" dirty="0" err="1">
                <a:solidFill>
                  <a:prstClr val="white"/>
                </a:solidFill>
                <a:latin typeface="Calibri"/>
              </a:rPr>
              <a:t>Lymes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, anaplasmosis, ehrlichiosis and Rocky Mountain spotted fev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86741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Colorado Tick Fever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7911081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March – Ju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ncubation: 3-4 days but can range 1-14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ymptoms: fever, chills, headache, myalgias; can have photophobia, stiff neck, rash, vom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CBC shows leukopenia &amp; thrombocytopen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50% have biphasic- initial fever, improvement then recurre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elf-limiting; severe disease and complications – neuroinvasive disease, hepatitis, pericarditis, </a:t>
            </a:r>
            <a:r>
              <a:rPr lang="en-US" sz="2800" dirty="0" err="1">
                <a:solidFill>
                  <a:prstClr val="white"/>
                </a:solidFill>
                <a:latin typeface="Calibri"/>
              </a:rPr>
              <a:t>epididymo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-orchitis and death are r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478177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Colorado Tick Fever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3"/>
            <a:ext cx="791108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Acute febrile illness (especially if biphasic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Reportable in 9 western sta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Recent exposure to ticks in endemic are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Differential: tick-borne relapsing, Rocky Mountain Spotted Fever, Tularemia, (doxycycline for bacterial and rickettsial disease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67068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Heartland Viru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791108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Fever, fatigue, anorexia, nausea, diarrhea, myalgias and arthralgi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eukopenia and thrombocytopenia comm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Almost all patients hospitaliz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evere complications: hemophagocytic </a:t>
            </a:r>
            <a:r>
              <a:rPr lang="en-US" sz="2800" dirty="0" err="1">
                <a:solidFill>
                  <a:prstClr val="white"/>
                </a:solidFill>
                <a:latin typeface="Calibri"/>
              </a:rPr>
              <a:t>lympohistiocytosis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 (HLH); death in immunocompromised has occurr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2146307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Heartland Virus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791108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Consider if recent exposure ticks in endemic are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eukopen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hrombocytopen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No response to doxycyc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034455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Bourbon Viral Disease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791108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Fever, fatigue, rash, headache, myalgias, nausea and vomi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eukopenia and thrombocytopen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Few cases identified; 2 cases developed multiorgan failure and died;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651827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Bourbon Viral Disease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791108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uspect if in area endemic to Heartland and Bourbon vir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eukopen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hrombocytopen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No clinical response to doxycyc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256499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02CA9-CB2A-3B87-983B-CD189BCD25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Consider Tickborne Disease if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B001D3-B5B0-7176-5A57-E6EEA78EE8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ymptoms</a:t>
            </a:r>
          </a:p>
          <a:p>
            <a:r>
              <a:rPr lang="en-US" dirty="0"/>
              <a:t>Geographic area or travel</a:t>
            </a:r>
          </a:p>
          <a:p>
            <a:r>
              <a:rPr lang="en-US" dirty="0"/>
              <a:t>Activities that may place at risk for tick bite or known tick bite</a:t>
            </a:r>
          </a:p>
          <a:p>
            <a:r>
              <a:rPr lang="en-US" dirty="0"/>
              <a:t>Diagnostic testing: </a:t>
            </a:r>
          </a:p>
          <a:p>
            <a:pPr lvl="1"/>
            <a:r>
              <a:rPr lang="en-US" dirty="0"/>
              <a:t>State or local health department can help with determining testing</a:t>
            </a:r>
          </a:p>
        </p:txBody>
      </p:sp>
    </p:spTree>
    <p:extLst>
      <p:ext uri="{BB962C8B-B14F-4D97-AF65-F5344CB8AC3E}">
        <p14:creationId xmlns:p14="http://schemas.microsoft.com/office/powerpoint/2010/main" val="127575605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Prevention of Tickborne Disease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7911081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No vaccines to prevent viral diseas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No antiviral medicines to tre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Antibiotics (primarily doxycycline) for bacteri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Prevent tick bites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EPA-registered insect repellan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DEET			Oil of lemon eucalyptu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Picaridin		Par-menthane-diol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R3535			2-undecano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Avoid brushy or wooded areas, walk in center of trai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164987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50D70A-F08B-5C20-3897-F84C690E5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>
                <a:latin typeface="+mj-lt"/>
                <a:ea typeface="+mj-ea"/>
                <a:cs typeface="+mj-cs"/>
              </a:rPr>
              <a:t>CDC Dashboard ED Visits for Tick Bites :</a:t>
            </a:r>
            <a:endParaRPr lang="en-US" sz="2800" dirty="0">
              <a:latin typeface="+mj-lt"/>
              <a:ea typeface="+mj-ea"/>
              <a:cs typeface="+mj-cs"/>
            </a:endParaRPr>
          </a:p>
        </p:txBody>
      </p:sp>
      <p:pic>
        <p:nvPicPr>
          <p:cNvPr id="7" name="Picture 6" descr="A graph with a line going up&#10;&#10;Description automatically generated">
            <a:extLst>
              <a:ext uri="{FF2B5EF4-FFF2-40B4-BE49-F238E27FC236}">
                <a16:creationId xmlns:a16="http://schemas.microsoft.com/office/drawing/2014/main" id="{FD8A030C-0E14-0311-3500-1245F3D93A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7898" y="1675228"/>
            <a:ext cx="7576205" cy="43941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E0EC1A8-EC0B-12E5-CC28-A297D804F3A2}"/>
              </a:ext>
            </a:extLst>
          </p:cNvPr>
          <p:cNvSpPr txBox="1"/>
          <p:nvPr/>
        </p:nvSpPr>
        <p:spPr>
          <a:xfrm>
            <a:off x="1941399" y="6214533"/>
            <a:ext cx="6195274" cy="3729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ckborne Disease Surveillance Data Summary | Ticks | CDC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09279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Prevention </a:t>
            </a:r>
            <a:r>
              <a:rPr lang="en-US" sz="2800">
                <a:latin typeface="+mj-lt"/>
                <a:ea typeface="+mj-ea"/>
                <a:cs typeface="+mj-cs"/>
              </a:rPr>
              <a:t>of Tickborne </a:t>
            </a:r>
            <a:r>
              <a:rPr lang="en-US" sz="2800" dirty="0">
                <a:latin typeface="+mj-lt"/>
                <a:ea typeface="+mj-ea"/>
                <a:cs typeface="+mj-cs"/>
              </a:rPr>
              <a:t>Disease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7911081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Can transmit viral infections within 15 minutes of attachment (bacterial can take longer for transmissio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Remove before they attach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Full body check after returning indoor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calp, ears, under arms, belly button, around waist, between legs, back of kne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Check pets and tick prevention products for pe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Remove attached tick asap; grasp close to skin surface, pull upward, thoroughly clean bite are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995696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19595" y="2380923"/>
            <a:ext cx="6425012" cy="1855559"/>
          </a:xfrm>
        </p:spPr>
        <p:txBody>
          <a:bodyPr>
            <a:norm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000" b="1" cap="small" spc="50" dirty="0"/>
              <a:t>John Kulig, MD, MPH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US" sz="4000" b="1" cap="small" spc="50" dirty="0"/>
              <a:t>May 29, 2024</a:t>
            </a:r>
          </a:p>
        </p:txBody>
      </p:sp>
    </p:spTree>
    <p:extLst>
      <p:ext uri="{BB962C8B-B14F-4D97-AF65-F5344CB8AC3E}">
        <p14:creationId xmlns:p14="http://schemas.microsoft.com/office/powerpoint/2010/main" val="345853296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9FD89-33C6-ABE3-1C70-C2A09D7B8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Clinical presentation </a:t>
            </a:r>
            <a:r>
              <a:rPr lang="en-US">
                <a:solidFill>
                  <a:srgbClr val="C00000"/>
                </a:solidFill>
              </a:rPr>
              <a:t>of tuberculosis (TB)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B6C53C-2C14-E072-D3CF-C43F0963B2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902979"/>
          </a:xfrm>
        </p:spPr>
        <p:txBody>
          <a:bodyPr/>
          <a:lstStyle/>
          <a:p>
            <a:pPr marL="50800" indent="0" algn="l">
              <a:buNone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Gradual onset of systemic symptoms are common to TB in any part of the body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ever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ight sweat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Weight loss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oss of appetit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nse of illness or loss of energy</a:t>
            </a:r>
          </a:p>
          <a:p>
            <a:pPr marL="50800" indent="0" algn="l">
              <a:buNone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ost cases of TB disease are pulmonary. Symptoms of pulmonary disease include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ugh (especially lasting for 3 weeks or longer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ughing up sputum or blood (hemoptysis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hest pai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hortness of breath</a:t>
            </a:r>
          </a:p>
          <a:p>
            <a:pPr marL="50800" indent="0" algn="l">
              <a:buNone/>
            </a:pPr>
            <a:r>
              <a:rPr lang="en-US" sz="16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Nunito" panose="020F0502020204030204" pitchFamily="2" charset="0"/>
              </a:rPr>
              <a:t>                                                                 </a:t>
            </a:r>
            <a:r>
              <a:rPr lang="en-US" sz="1600" i="0" u="sng" dirty="0">
                <a:solidFill>
                  <a:srgbClr val="3333FF"/>
                </a:solidFill>
                <a:effectLst/>
                <a:highlight>
                  <a:srgbClr val="FFFFFF"/>
                </a:highlight>
                <a:latin typeface="Nunito" panose="020F0502020204030204" pitchFamily="2" charset="0"/>
              </a:rPr>
              <a:t>https://www.cdc.gov/tb/hcp/clinical-signs-and-symptoms/index.html</a:t>
            </a:r>
            <a:r>
              <a:rPr lang="en-US" sz="16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Nunito" panose="020F0502020204030204" pitchFamily="2" charset="0"/>
              </a:rPr>
              <a:t>								</a:t>
            </a:r>
          </a:p>
          <a:p>
            <a:endParaRPr lang="en-US" sz="24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581062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9FD89-33C6-ABE3-1C70-C2A09D7B8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Tuberculin te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B6C53C-2C14-E072-D3CF-C43F0963B2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667250"/>
          </a:xfrm>
        </p:spPr>
        <p:txBody>
          <a:bodyPr/>
          <a:lstStyle/>
          <a:p>
            <a:pPr marL="50800" indent="0" algn="l">
              <a:buNone/>
            </a:pP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Two tests are used to determine if a person has been infected with TB bacteria: </a:t>
            </a:r>
          </a:p>
          <a:p>
            <a:pPr algn="l"/>
            <a:r>
              <a:rPr lang="en-US" sz="2000" b="0" i="0" u="sng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  <a:hlinkClick r:id="rId2"/>
              </a:rPr>
              <a:t>TB blood tests (Interferon Gamma Release Assay [IGRA])</a:t>
            </a:r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 </a:t>
            </a:r>
          </a:p>
          <a:p>
            <a:pPr algn="l"/>
            <a:r>
              <a:rPr lang="en-US" sz="2000" b="0" i="0" u="sng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  <a:hlinkClick r:id="rId3"/>
              </a:rPr>
              <a:t>TB skin test (Mantoux tuberculin skin test)</a:t>
            </a:r>
            <a:r>
              <a:rPr lang="en-US" sz="2000" b="0" i="0" u="sng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 </a:t>
            </a:r>
            <a:r>
              <a:rPr lang="en-US" sz="2000" b="0" i="0" u="sng" dirty="0">
                <a:solidFill>
                  <a:schemeClr val="accent5">
                    <a:lumMod val="75000"/>
                  </a:schemeClr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– 5 tuberculin units – not 1 or 250 units</a:t>
            </a:r>
            <a:endParaRPr lang="en-US" sz="2000" b="0" i="0" dirty="0">
              <a:solidFill>
                <a:schemeClr val="accent5">
                  <a:lumMod val="75000"/>
                </a:schemeClr>
              </a:solidFill>
              <a:effectLst/>
              <a:highlight>
                <a:srgbClr val="FFFFFF"/>
              </a:highlight>
              <a:latin typeface="+mn-lt"/>
              <a:cs typeface="Arial" panose="020B0604020202020204" pitchFamily="34" charset="0"/>
            </a:endParaRPr>
          </a:p>
          <a:p>
            <a:pPr algn="l"/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TB blood tests or skin tests should not be performed on people who have written documentation of a previous positive TB test results (TB blood test or TB skin test) or treatment for TB disease. Most people who have a positive TB test result will continue to have a positive test result.</a:t>
            </a:r>
          </a:p>
          <a:p>
            <a:pPr algn="l"/>
            <a:r>
              <a:rPr lang="en-US" sz="2000" b="0" i="0" dirty="0">
                <a:solidFill>
                  <a:srgbClr val="1C1D1F"/>
                </a:solidFill>
                <a:effectLst/>
                <a:latin typeface="+mn-lt"/>
              </a:rPr>
              <a:t>TB blood tests are the preferred test for people who have received the TB vaccine (also known as </a:t>
            </a:r>
            <a:r>
              <a:rPr lang="en-US" sz="2000" b="0" i="0" u="sng" dirty="0">
                <a:effectLst/>
                <a:latin typeface="+mn-lt"/>
                <a:hlinkClick r:id="rId4"/>
              </a:rPr>
              <a:t>Bacille Calmette-Guérin or BCG</a:t>
            </a:r>
            <a:r>
              <a:rPr lang="en-US" sz="2000" b="0" i="0" dirty="0">
                <a:solidFill>
                  <a:srgbClr val="1C1D1F"/>
                </a:solidFill>
                <a:effectLst/>
                <a:latin typeface="+mn-lt"/>
              </a:rPr>
              <a:t>).</a:t>
            </a:r>
            <a:endParaRPr lang="en-US" sz="2000" b="0" i="0" dirty="0">
              <a:solidFill>
                <a:srgbClr val="1C1D1F"/>
              </a:solidFill>
              <a:effectLst/>
              <a:highlight>
                <a:srgbClr val="FFFFFF"/>
              </a:highlight>
              <a:latin typeface="+mn-lt"/>
              <a:cs typeface="Arial" panose="020B0604020202020204" pitchFamily="34" charset="0"/>
            </a:endParaRPr>
          </a:p>
          <a:p>
            <a:pPr algn="l"/>
            <a:r>
              <a:rPr lang="en-US" sz="2000" b="0" i="0" dirty="0">
                <a:solidFill>
                  <a:srgbClr val="1C1D1F"/>
                </a:solidFill>
                <a:effectLst/>
                <a:highlight>
                  <a:srgbClr val="FFFFFF"/>
                </a:highlight>
                <a:latin typeface="+mn-lt"/>
              </a:rPr>
              <a:t>TB skin tests are contraindicated only for people who have had a severe reaction (e.g. necrosis, blistering, anaphylactic shock, or ulcerations to a previous TB skin test). </a:t>
            </a:r>
            <a:endParaRPr lang="en-US" sz="2000" b="0" i="0" dirty="0">
              <a:solidFill>
                <a:srgbClr val="1C1D1F"/>
              </a:solidFill>
              <a:effectLst/>
              <a:highlight>
                <a:srgbClr val="FFFFFF"/>
              </a:highlight>
              <a:latin typeface="+mn-lt"/>
              <a:cs typeface="Arial" panose="020B0604020202020204" pitchFamily="34" charset="0"/>
            </a:endParaRPr>
          </a:p>
          <a:p>
            <a:pPr marL="50800" indent="0">
              <a:buNone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                                        </a:t>
            </a:r>
            <a:r>
              <a:rPr lang="en-US" sz="1600" dirty="0">
                <a:solidFill>
                  <a:srgbClr val="3333FF"/>
                </a:solidFill>
                <a:latin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dc.gov/tb/hcp/testing-diagnosis/interferon-gamma-release-assay.html</a:t>
            </a:r>
            <a:endParaRPr lang="en-US" sz="1600" dirty="0">
              <a:solidFill>
                <a:srgbClr val="3333FF"/>
              </a:solidFill>
              <a:latin typeface="+mn-lt"/>
            </a:endParaRPr>
          </a:p>
          <a:p>
            <a:pPr marL="50800" indent="0">
              <a:buNone/>
            </a:pPr>
            <a:r>
              <a:rPr lang="en-US" sz="1600" dirty="0">
                <a:solidFill>
                  <a:srgbClr val="3333FF"/>
                </a:solidFill>
                <a:latin typeface="+mn-lt"/>
              </a:rPr>
              <a:t>                                        </a:t>
            </a:r>
            <a:r>
              <a:rPr lang="en-US" sz="1600" u="sng" dirty="0">
                <a:solidFill>
                  <a:srgbClr val="3333FF"/>
                </a:solidFill>
                <a:latin typeface="+mn-lt"/>
              </a:rPr>
              <a:t>https://www.cdc.gov/tb/hcp/testing-diagnosis/tuberculin-skin-test.html</a:t>
            </a:r>
          </a:p>
        </p:txBody>
      </p:sp>
    </p:spTree>
    <p:extLst>
      <p:ext uri="{BB962C8B-B14F-4D97-AF65-F5344CB8AC3E}">
        <p14:creationId xmlns:p14="http://schemas.microsoft.com/office/powerpoint/2010/main" val="379448024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B9FD89-33C6-ABE3-1C70-C2A09D7B8F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Tuberculin te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B6C53C-2C14-E072-D3CF-C43F0963B2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i="0" dirty="0">
                <a:solidFill>
                  <a:schemeClr val="tx1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prior treated TB – obtain medical records</a:t>
            </a:r>
          </a:p>
          <a:p>
            <a:r>
              <a:rPr lang="en-US" dirty="0">
                <a:solidFill>
                  <a:schemeClr val="tx1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prior positive TB skin test - </a:t>
            </a:r>
            <a:r>
              <a:rPr lang="en-US" b="0" i="0" dirty="0">
                <a:solidFill>
                  <a:schemeClr val="tx1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obtain medical records</a:t>
            </a:r>
          </a:p>
          <a:p>
            <a:r>
              <a:rPr lang="en-US" b="0" i="0" dirty="0">
                <a:solidFill>
                  <a:schemeClr val="tx1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TB skin </a:t>
            </a:r>
            <a:r>
              <a:rPr lang="en-US" b="0" i="0" dirty="0">
                <a:solidFill>
                  <a:schemeClr val="tx1"/>
                </a:solidFill>
                <a:effectLst/>
                <a:highlight>
                  <a:srgbClr val="FFFFFF"/>
                </a:highlight>
                <a:latin typeface="+mn-lt"/>
              </a:rPr>
              <a:t>test severe reaction in the past – obtain blood for IGRA testing</a:t>
            </a:r>
          </a:p>
          <a:p>
            <a:r>
              <a:rPr lang="en-US" dirty="0">
                <a:solidFill>
                  <a:schemeClr val="tx1"/>
                </a:solidFill>
                <a:highlight>
                  <a:srgbClr val="FFFFFF"/>
                </a:highlight>
                <a:latin typeface="+mn-lt"/>
              </a:rPr>
              <a:t>prior BCG vaccine - </a:t>
            </a:r>
            <a:r>
              <a:rPr lang="en-US" b="0" i="0" dirty="0">
                <a:solidFill>
                  <a:schemeClr val="tx1"/>
                </a:solidFill>
                <a:effectLst/>
                <a:highlight>
                  <a:srgbClr val="FFFFFF"/>
                </a:highlight>
                <a:latin typeface="+mn-lt"/>
              </a:rPr>
              <a:t>obtain blood for IGRA testing</a:t>
            </a:r>
          </a:p>
          <a:p>
            <a:r>
              <a:rPr lang="en-US" dirty="0">
                <a:solidFill>
                  <a:schemeClr val="tx1"/>
                </a:solidFill>
                <a:highlight>
                  <a:srgbClr val="FFFFFF"/>
                </a:highlight>
                <a:latin typeface="+mn-lt"/>
              </a:rPr>
              <a:t>needle phobia – offer EMLA cream or equivalent</a:t>
            </a:r>
          </a:p>
          <a:p>
            <a:r>
              <a:rPr lang="en-US" b="0" i="0" dirty="0">
                <a:solidFill>
                  <a:schemeClr val="tx1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chest x-ray is indicated for pulmonary symptoms, </a:t>
            </a:r>
            <a:r>
              <a:rPr lang="en-US" dirty="0">
                <a:solidFill>
                  <a:schemeClr val="tx1"/>
                </a:solidFill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c</a:t>
            </a:r>
            <a:r>
              <a:rPr lang="en-US" b="0" i="0" dirty="0">
                <a:solidFill>
                  <a:schemeClr val="tx1"/>
                </a:solidFill>
                <a:effectLst/>
                <a:highlight>
                  <a:srgbClr val="FFFFFF"/>
                </a:highlight>
                <a:latin typeface="+mn-lt"/>
                <a:cs typeface="Arial" panose="020B0604020202020204" pitchFamily="34" charset="0"/>
              </a:rPr>
              <a:t>urrent positive skin test or IGRA blood test, or history of prior TB infection, but will not detect latent tuberculosis</a:t>
            </a:r>
          </a:p>
          <a:p>
            <a:pPr marL="50800" indent="0">
              <a:buNone/>
            </a:pPr>
            <a:endParaRPr lang="en-US" sz="2400" dirty="0">
              <a:solidFill>
                <a:schemeClr val="tx1"/>
              </a:solidFill>
              <a:highlight>
                <a:srgbClr val="FFFFFF"/>
              </a:highlight>
              <a:latin typeface="+mn-lt"/>
            </a:endParaRPr>
          </a:p>
          <a:p>
            <a:endParaRPr lang="en-US" sz="2400" dirty="0">
              <a:solidFill>
                <a:schemeClr val="tx1"/>
              </a:solidFill>
              <a:highlight>
                <a:srgbClr val="FFFFFF"/>
              </a:highlight>
              <a:latin typeface="+mn-lt"/>
            </a:endParaRPr>
          </a:p>
          <a:p>
            <a:endParaRPr lang="en-US" sz="24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82546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>
            <a:extLst>
              <a:ext uri="{FF2B5EF4-FFF2-40B4-BE49-F238E27FC236}">
                <a16:creationId xmlns:a16="http://schemas.microsoft.com/office/drawing/2014/main" id="{3AC0D264-426F-4578-859E-05BD2E97BCE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C00000"/>
                </a:solidFill>
              </a:rPr>
              <a:t>Disease of the month - Case presentation</a:t>
            </a:r>
          </a:p>
        </p:txBody>
      </p:sp>
      <p:sp>
        <p:nvSpPr>
          <p:cNvPr id="19459" name="Rectangle 3">
            <a:extLst>
              <a:ext uri="{FF2B5EF4-FFF2-40B4-BE49-F238E27FC236}">
                <a16:creationId xmlns:a16="http://schemas.microsoft.com/office/drawing/2014/main" id="{7BDA0110-E45C-4ED9-B2F9-4F8A4C31204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77042" y="1690688"/>
            <a:ext cx="8627046" cy="4710111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  <a:defRPr/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A 15 year-old female is seen in an urban hospital’s Emergency Department with complaints of headache, “feeling </a:t>
            </a:r>
            <a:r>
              <a:rPr lang="en-US" sz="3200" dirty="0" err="1">
                <a:latin typeface="Arial" panose="020B0604020202020204" pitchFamily="34" charset="0"/>
                <a:cs typeface="Arial" panose="020B0604020202020204" pitchFamily="34" charset="0"/>
              </a:rPr>
              <a:t>wierd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 and lightheaded” and “losing track of time.” Symptoms occurred several times in the past two weeks, always lasting several hours.  She was recently treated with penicillin for </a:t>
            </a:r>
            <a:r>
              <a:rPr lang="en-US" sz="3200" dirty="0" err="1">
                <a:latin typeface="Arial" panose="020B0604020202020204" pitchFamily="34" charset="0"/>
                <a:cs typeface="Arial" panose="020B0604020202020204" pitchFamily="34" charset="0"/>
              </a:rPr>
              <a:t>pharyngitis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.  Neurologic exam is normal.</a:t>
            </a:r>
          </a:p>
        </p:txBody>
      </p:sp>
    </p:spTree>
    <p:extLst>
      <p:ext uri="{BB962C8B-B14F-4D97-AF65-F5344CB8AC3E}">
        <p14:creationId xmlns:p14="http://schemas.microsoft.com/office/powerpoint/2010/main" val="158409270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>
            <a:extLst>
              <a:ext uri="{FF2B5EF4-FFF2-40B4-BE49-F238E27FC236}">
                <a16:creationId xmlns:a16="http://schemas.microsoft.com/office/drawing/2014/main" id="{AB119583-90C2-46AA-B7C7-452DB583077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83079" y="190500"/>
            <a:ext cx="11490385" cy="1672806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C00000"/>
                </a:solidFill>
              </a:rPr>
              <a:t>Clinical features of EBV infection/mononucleosis</a:t>
            </a:r>
          </a:p>
        </p:txBody>
      </p:sp>
      <p:sp>
        <p:nvSpPr>
          <p:cNvPr id="20483" name="Rectangle 3">
            <a:extLst>
              <a:ext uri="{FF2B5EF4-FFF2-40B4-BE49-F238E27FC236}">
                <a16:creationId xmlns:a16="http://schemas.microsoft.com/office/drawing/2014/main" id="{634422A0-F6FC-4018-8459-A1AA2B27A4D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078038" y="1600200"/>
            <a:ext cx="7727950" cy="48006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  <a:defRPr/>
            </a:pPr>
            <a:r>
              <a:rPr lang="en-US" sz="3600" dirty="0"/>
              <a:t>symptoms:</a:t>
            </a:r>
          </a:p>
          <a:p>
            <a:pPr>
              <a:buFont typeface="Monotype Sorts" pitchFamily="2" charset="2"/>
              <a:buNone/>
              <a:defRPr/>
            </a:pPr>
            <a:r>
              <a:rPr lang="en-US" sz="3600" dirty="0"/>
              <a:t>		sore throat, malaise, headache, </a:t>
            </a:r>
          </a:p>
          <a:p>
            <a:pPr>
              <a:buFont typeface="Monotype Sorts" pitchFamily="2" charset="2"/>
              <a:buNone/>
              <a:defRPr/>
            </a:pPr>
            <a:r>
              <a:rPr lang="en-US" sz="3600" dirty="0"/>
              <a:t>		anorexia, </a:t>
            </a:r>
            <a:r>
              <a:rPr lang="en-US" sz="3600" dirty="0" err="1"/>
              <a:t>myalgia</a:t>
            </a:r>
            <a:r>
              <a:rPr lang="en-US" sz="3600" dirty="0"/>
              <a:t>, fatigue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en-US" sz="3600" dirty="0"/>
              <a:t>signs:</a:t>
            </a:r>
          </a:p>
          <a:p>
            <a:pPr>
              <a:buFont typeface="Monotype Sorts" pitchFamily="2" charset="2"/>
              <a:buNone/>
              <a:defRPr/>
            </a:pPr>
            <a:r>
              <a:rPr lang="en-US" sz="3600" dirty="0"/>
              <a:t>		fever, </a:t>
            </a:r>
            <a:r>
              <a:rPr lang="en-US" sz="3600" dirty="0" err="1"/>
              <a:t>lymphadenopathy</a:t>
            </a:r>
            <a:r>
              <a:rPr lang="en-US" sz="3600" dirty="0"/>
              <a:t>,</a:t>
            </a:r>
          </a:p>
          <a:p>
            <a:pPr>
              <a:buFont typeface="Monotype Sorts" pitchFamily="2" charset="2"/>
              <a:buNone/>
              <a:defRPr/>
            </a:pPr>
            <a:r>
              <a:rPr lang="en-US" sz="3600" dirty="0"/>
              <a:t>         </a:t>
            </a:r>
            <a:r>
              <a:rPr lang="en-US" sz="3600" dirty="0" err="1"/>
              <a:t>pharyngitis</a:t>
            </a:r>
            <a:r>
              <a:rPr lang="en-US" sz="3600" dirty="0"/>
              <a:t>, </a:t>
            </a:r>
            <a:r>
              <a:rPr lang="en-US" sz="3600" dirty="0" err="1"/>
              <a:t>splenomegaly</a:t>
            </a:r>
            <a:r>
              <a:rPr lang="en-US" sz="3600" dirty="0"/>
              <a:t>, </a:t>
            </a:r>
          </a:p>
          <a:p>
            <a:pPr>
              <a:buFont typeface="Monotype Sorts" pitchFamily="2" charset="2"/>
              <a:buNone/>
              <a:defRPr/>
            </a:pPr>
            <a:r>
              <a:rPr lang="en-US" sz="3600" dirty="0"/>
              <a:t>         </a:t>
            </a:r>
            <a:r>
              <a:rPr lang="en-US" sz="3600" dirty="0" err="1"/>
              <a:t>periorbital</a:t>
            </a:r>
            <a:r>
              <a:rPr lang="en-US" sz="3600" dirty="0"/>
              <a:t> edema, rash</a:t>
            </a:r>
          </a:p>
        </p:txBody>
      </p:sp>
    </p:spTree>
    <p:extLst>
      <p:ext uri="{BB962C8B-B14F-4D97-AF65-F5344CB8AC3E}">
        <p14:creationId xmlns:p14="http://schemas.microsoft.com/office/powerpoint/2010/main" val="240282572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8066" name="Object 0">
            <a:extLst>
              <a:ext uri="{FF2B5EF4-FFF2-40B4-BE49-F238E27FC236}">
                <a16:creationId xmlns:a16="http://schemas.microsoft.com/office/drawing/2014/main" id="{7A6A426D-ADD6-6E44-0045-4F31EBA9B45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952500" y="-762000"/>
          <a:ext cx="10287000" cy="762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3" imgW="13342857" imgH="10012173" progId="MSPhotoEd.3">
                  <p:embed/>
                </p:oleObj>
              </mc:Choice>
              <mc:Fallback>
                <p:oleObj name="Photo Editor Photo" r:id="rId3" imgW="13342857" imgH="10012173" progId="MSPhotoEd.3">
                  <p:embed/>
                  <p:pic>
                    <p:nvPicPr>
                      <p:cNvPr id="88066" name="Object 0">
                        <a:extLst>
                          <a:ext uri="{FF2B5EF4-FFF2-40B4-BE49-F238E27FC236}">
                            <a16:creationId xmlns:a16="http://schemas.microsoft.com/office/drawing/2014/main" id="{7A6A426D-ADD6-6E44-0045-4F31EBA9B45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52500" y="-762000"/>
                        <a:ext cx="10287000" cy="7620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01971289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3" descr="C:\My Documents\EBVsigns.gif">
            <a:extLst>
              <a:ext uri="{FF2B5EF4-FFF2-40B4-BE49-F238E27FC236}">
                <a16:creationId xmlns:a16="http://schemas.microsoft.com/office/drawing/2014/main" id="{6D78EFCB-7FDC-20AB-DF11-BBABD193B2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0"/>
            <a:ext cx="10287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013458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62" name="Picture 2" descr="C:\My Documents\My Pictures\IMtonsils.jpg">
            <a:extLst>
              <a:ext uri="{FF2B5EF4-FFF2-40B4-BE49-F238E27FC236}">
                <a16:creationId xmlns:a16="http://schemas.microsoft.com/office/drawing/2014/main" id="{1C14D46A-80EE-27DF-17A6-1AFBCC58AE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500" y="0"/>
            <a:ext cx="82296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227624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50D70A-F08B-5C20-3897-F84C690E5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>
                <a:latin typeface="+mj-lt"/>
                <a:ea typeface="+mj-ea"/>
                <a:cs typeface="+mj-cs"/>
              </a:rPr>
              <a:t>CDC Dashboard ED Visits for Tick Bites :</a:t>
            </a:r>
            <a:endParaRPr lang="en-US" sz="2800" dirty="0"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3C109B-31AE-A5DC-5DE0-12B030CE34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7299" y="1675228"/>
            <a:ext cx="8137403" cy="4394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47793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210" name="Picture 2" descr="C:\My Documents\My Pictures\IMeyes.jpg">
            <a:extLst>
              <a:ext uri="{FF2B5EF4-FFF2-40B4-BE49-F238E27FC236}">
                <a16:creationId xmlns:a16="http://schemas.microsoft.com/office/drawing/2014/main" id="{711B0129-C63B-46EB-8454-0C74473901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7100" y="0"/>
            <a:ext cx="51054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318511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4" descr="http://www.nursing-lectures.com/wp-content/uploads/2012/05/image7.png">
            <a:hlinkClick r:id="rId3"/>
            <a:extLst>
              <a:ext uri="{FF2B5EF4-FFF2-40B4-BE49-F238E27FC236}">
                <a16:creationId xmlns:a16="http://schemas.microsoft.com/office/drawing/2014/main" id="{1C659E1D-42B7-BE97-CF92-8E0C99BD9C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1" y="381000"/>
            <a:ext cx="9593263" cy="605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3943935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2" descr="C:\My Documents\My Pictures\spleen2.jpg">
            <a:extLst>
              <a:ext uri="{FF2B5EF4-FFF2-40B4-BE49-F238E27FC236}">
                <a16:creationId xmlns:a16="http://schemas.microsoft.com/office/drawing/2014/main" id="{F786D1CB-7566-3498-B2A7-F9EDAE93DC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0"/>
            <a:ext cx="102870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7663245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Title 1">
            <a:extLst>
              <a:ext uri="{FF2B5EF4-FFF2-40B4-BE49-F238E27FC236}">
                <a16:creationId xmlns:a16="http://schemas.microsoft.com/office/drawing/2014/main" id="{60432F0D-79D7-4801-B98F-E51649F84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039" y="266700"/>
            <a:ext cx="9853961" cy="1104900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C00000"/>
                </a:solidFill>
              </a:rPr>
              <a:t>Diagnostic studies in mononucleosis</a:t>
            </a:r>
          </a:p>
        </p:txBody>
      </p:sp>
      <p:sp>
        <p:nvSpPr>
          <p:cNvPr id="88067" name="Content Placeholder 2">
            <a:extLst>
              <a:ext uri="{FF2B5EF4-FFF2-40B4-BE49-F238E27FC236}">
                <a16:creationId xmlns:a16="http://schemas.microsoft.com/office/drawing/2014/main" id="{DDEB12A1-EDED-4322-9897-E382045EDD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0" y="1676400"/>
            <a:ext cx="9448800" cy="48006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  <a:defRPr/>
            </a:pPr>
            <a:r>
              <a:rPr lang="en-US" sz="3000" dirty="0"/>
              <a:t>CBC with </a:t>
            </a:r>
            <a:r>
              <a:rPr lang="en-US" sz="3000" dirty="0" err="1"/>
              <a:t>lymphocytosis</a:t>
            </a:r>
            <a:r>
              <a:rPr lang="en-US" sz="3000" dirty="0"/>
              <a:t> and &gt; 10% atypical </a:t>
            </a:r>
            <a:r>
              <a:rPr lang="en-US" sz="3000" dirty="0" err="1"/>
              <a:t>lymphs</a:t>
            </a:r>
            <a:endParaRPr lang="en-US" sz="3000" dirty="0"/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3000" dirty="0"/>
              <a:t>  75% sensitivity – 92% specificity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en-US" sz="3000" dirty="0" err="1"/>
              <a:t>Monospot</a:t>
            </a:r>
            <a:r>
              <a:rPr lang="en-US" sz="3000" dirty="0"/>
              <a:t> test for </a:t>
            </a:r>
            <a:r>
              <a:rPr lang="en-US" sz="3000" dirty="0" err="1"/>
              <a:t>heterophile</a:t>
            </a:r>
            <a:r>
              <a:rPr lang="en-US" sz="3000" dirty="0"/>
              <a:t> antibodies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3000" dirty="0"/>
              <a:t>  85% sensitivity – 94% specificity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3000" dirty="0"/>
              <a:t>  25% negative in first week of infection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3000" dirty="0"/>
              <a:t>  5% -10% negative in second week of infection</a:t>
            </a:r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3000" dirty="0"/>
              <a:t>  antibodies persist for one year or longer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en-US" sz="3000" dirty="0" err="1"/>
              <a:t>aminotransferase</a:t>
            </a:r>
            <a:r>
              <a:rPr lang="en-US" sz="3000" dirty="0"/>
              <a:t> levels elevated in older children and adults</a:t>
            </a:r>
          </a:p>
        </p:txBody>
      </p:sp>
    </p:spTree>
    <p:extLst>
      <p:ext uri="{BB962C8B-B14F-4D97-AF65-F5344CB8AC3E}">
        <p14:creationId xmlns:p14="http://schemas.microsoft.com/office/powerpoint/2010/main" val="292628892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02" name="Picture 2" descr="C:\My Documents\My Pictures\atyplymph_nw.jpg">
            <a:extLst>
              <a:ext uri="{FF2B5EF4-FFF2-40B4-BE49-F238E27FC236}">
                <a16:creationId xmlns:a16="http://schemas.microsoft.com/office/drawing/2014/main" id="{03CBA26D-EE5F-0302-E5C8-1BA3DC4B6E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00" y="0"/>
            <a:ext cx="10287000" cy="792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0756792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450" name="Picture 2" descr="C:\Users\John\Desktop\Cases IX Images\Mono 2.png">
            <a:extLst>
              <a:ext uri="{FF2B5EF4-FFF2-40B4-BE49-F238E27FC236}">
                <a16:creationId xmlns:a16="http://schemas.microsoft.com/office/drawing/2014/main" id="{3782D9C2-DA6E-B996-359C-96005F66BB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4900" y="0"/>
            <a:ext cx="7856538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7788789"/>
      </p:ext>
    </p:extLst>
  </p:cSld>
  <p:clrMapOvr>
    <a:masterClrMapping/>
  </p:clrMapOvr>
  <p:transition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BA37D0-D93B-62EE-A2D7-8118B53A9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>
                <a:solidFill>
                  <a:srgbClr val="C00000"/>
                </a:solidFill>
              </a:rPr>
              <a:t>Complications of Epstein-Barr Virus infection</a:t>
            </a:r>
            <a:endParaRPr lang="en-US" dirty="0"/>
          </a:p>
        </p:txBody>
      </p:sp>
      <p:sp>
        <p:nvSpPr>
          <p:cNvPr id="21507" name="Rectangle 3">
            <a:extLst>
              <a:ext uri="{FF2B5EF4-FFF2-40B4-BE49-F238E27FC236}">
                <a16:creationId xmlns:a16="http://schemas.microsoft.com/office/drawing/2014/main" id="{5C298717-003A-42E6-8CE1-0D5C99A553F2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2156604" y="1690687"/>
            <a:ext cx="3226280" cy="4927973"/>
          </a:xfrm>
        </p:spPr>
        <p:txBody>
          <a:bodyPr/>
          <a:lstStyle/>
          <a:p>
            <a:pPr indent="-457200">
              <a:lnSpc>
                <a:spcPct val="100000"/>
              </a:lnSpc>
              <a:defRPr/>
            </a:pPr>
            <a:r>
              <a:rPr lang="en-US" sz="3200" dirty="0">
                <a:solidFill>
                  <a:srgbClr val="000000"/>
                </a:solidFill>
              </a:rPr>
              <a:t>splenic</a:t>
            </a:r>
          </a:p>
          <a:p>
            <a:pPr indent="-457200">
              <a:lnSpc>
                <a:spcPct val="100000"/>
              </a:lnSpc>
              <a:defRPr/>
            </a:pPr>
            <a:r>
              <a:rPr lang="en-US" sz="3200" dirty="0">
                <a:solidFill>
                  <a:srgbClr val="000000"/>
                </a:solidFill>
              </a:rPr>
              <a:t>respiratory</a:t>
            </a:r>
          </a:p>
          <a:p>
            <a:pPr indent="-457200">
              <a:lnSpc>
                <a:spcPct val="100000"/>
              </a:lnSpc>
              <a:defRPr/>
            </a:pPr>
            <a:r>
              <a:rPr lang="en-US" sz="3200" dirty="0">
                <a:solidFill>
                  <a:srgbClr val="000000"/>
                </a:solidFill>
              </a:rPr>
              <a:t>cardiac</a:t>
            </a:r>
          </a:p>
          <a:p>
            <a:pPr indent="-457200">
              <a:lnSpc>
                <a:spcPct val="100000"/>
              </a:lnSpc>
              <a:defRPr/>
            </a:pPr>
            <a:r>
              <a:rPr lang="en-US" sz="3200" dirty="0">
                <a:solidFill>
                  <a:srgbClr val="000000"/>
                </a:solidFill>
              </a:rPr>
              <a:t>gastrointestinal</a:t>
            </a:r>
          </a:p>
          <a:p>
            <a:pPr indent="-457200">
              <a:lnSpc>
                <a:spcPct val="100000"/>
              </a:lnSpc>
              <a:defRPr/>
            </a:pPr>
            <a:r>
              <a:rPr lang="en-US" sz="3200" dirty="0">
                <a:solidFill>
                  <a:srgbClr val="000000"/>
                </a:solidFill>
              </a:rPr>
              <a:t>hepatic</a:t>
            </a:r>
          </a:p>
          <a:p>
            <a:pPr indent="-457200">
              <a:lnSpc>
                <a:spcPct val="100000"/>
              </a:lnSpc>
              <a:defRPr/>
            </a:pPr>
            <a:r>
              <a:rPr lang="en-US" sz="3200" dirty="0">
                <a:solidFill>
                  <a:srgbClr val="000000"/>
                </a:solidFill>
              </a:rPr>
              <a:t>renal</a:t>
            </a:r>
          </a:p>
          <a:p>
            <a:pPr indent="-457200">
              <a:lnSpc>
                <a:spcPct val="100000"/>
              </a:lnSpc>
              <a:defRPr/>
            </a:pPr>
            <a:r>
              <a:rPr lang="en-US" sz="3200" dirty="0">
                <a:solidFill>
                  <a:srgbClr val="000000"/>
                </a:solidFill>
              </a:rPr>
              <a:t>hematologic</a:t>
            </a:r>
          </a:p>
          <a:p>
            <a:pPr>
              <a:lnSpc>
                <a:spcPct val="100000"/>
              </a:lnSpc>
              <a:buFont typeface="Monotype Sorts" pitchFamily="2" charset="2"/>
              <a:buNone/>
              <a:defRPr/>
            </a:pPr>
            <a:endParaRPr lang="en-US" dirty="0"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8BCA67-7919-5339-BBA8-1136548169DD}"/>
              </a:ext>
            </a:extLst>
          </p:cNvPr>
          <p:cNvSpPr txBox="1"/>
          <p:nvPr/>
        </p:nvSpPr>
        <p:spPr>
          <a:xfrm>
            <a:off x="6096000" y="1552755"/>
            <a:ext cx="4290204" cy="51866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rmatologic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rologic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heumatologic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fectious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hthalmologic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urologic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sychiatric</a:t>
            </a:r>
          </a:p>
        </p:txBody>
      </p:sp>
    </p:spTree>
    <p:extLst>
      <p:ext uri="{BB962C8B-B14F-4D97-AF65-F5344CB8AC3E}">
        <p14:creationId xmlns:p14="http://schemas.microsoft.com/office/powerpoint/2010/main" val="50743528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32946-C142-1D27-9F1F-BE60274E38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>
                <a:solidFill>
                  <a:srgbClr val="C00000"/>
                </a:solidFill>
              </a:rPr>
              <a:t>Neurologic complications of EBV infection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02220C-F9B4-85A9-F9D5-4238FC5937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>
              <a:buFont typeface="Wingdings" panose="05000000000000000000" pitchFamily="2" charset="2"/>
              <a:buChar char="Ø"/>
              <a:defRPr/>
            </a:pPr>
            <a:r>
              <a:rPr lang="en-US" sz="3200" dirty="0"/>
              <a:t>Guillain-Barre syndrome</a:t>
            </a:r>
          </a:p>
          <a:p>
            <a:pPr lvl="2">
              <a:buFont typeface="Wingdings" panose="05000000000000000000" pitchFamily="2" charset="2"/>
              <a:buChar char="Ø"/>
              <a:defRPr/>
            </a:pPr>
            <a:r>
              <a:rPr lang="en-US" sz="3200" dirty="0"/>
              <a:t>meningoencephalitis</a:t>
            </a:r>
          </a:p>
          <a:p>
            <a:pPr lvl="2">
              <a:buFont typeface="Wingdings" panose="05000000000000000000" pitchFamily="2" charset="2"/>
              <a:buChar char="Ø"/>
              <a:defRPr/>
            </a:pPr>
            <a:r>
              <a:rPr lang="en-US" sz="3200" dirty="0"/>
              <a:t>cranial nerve palsy</a:t>
            </a:r>
          </a:p>
          <a:p>
            <a:pPr lvl="2">
              <a:buFont typeface="Wingdings" panose="05000000000000000000" pitchFamily="2" charset="2"/>
              <a:buChar char="Ø"/>
              <a:defRPr/>
            </a:pPr>
            <a:r>
              <a:rPr lang="en-US" sz="3200" dirty="0"/>
              <a:t>optic neuritis</a:t>
            </a:r>
          </a:p>
          <a:p>
            <a:pPr lvl="2">
              <a:buFont typeface="Wingdings" panose="05000000000000000000" pitchFamily="2" charset="2"/>
              <a:buChar char="Ø"/>
              <a:defRPr/>
            </a:pPr>
            <a:r>
              <a:rPr lang="en-US" sz="3200" dirty="0"/>
              <a:t>peripheral neuropathy</a:t>
            </a:r>
          </a:p>
          <a:p>
            <a:pPr lvl="2">
              <a:buFont typeface="Wingdings" panose="05000000000000000000" pitchFamily="2" charset="2"/>
              <a:buChar char="Ø"/>
              <a:defRPr/>
            </a:pPr>
            <a:r>
              <a:rPr lang="en-US" sz="3200" dirty="0"/>
              <a:t>cerebellar ataxia</a:t>
            </a:r>
          </a:p>
          <a:p>
            <a:pPr lvl="2">
              <a:buFont typeface="Wingdings" panose="05000000000000000000" pitchFamily="2" charset="2"/>
              <a:buChar char="Ø"/>
              <a:defRPr/>
            </a:pPr>
            <a:r>
              <a:rPr lang="en-US" sz="3200" dirty="0"/>
              <a:t>transverse myelitis</a:t>
            </a:r>
          </a:p>
          <a:p>
            <a:pPr lvl="2">
              <a:buFont typeface="Wingdings" panose="05000000000000000000" pitchFamily="2" charset="2"/>
              <a:buChar char="Ø"/>
              <a:defRPr/>
            </a:pPr>
            <a:r>
              <a:rPr lang="en-US" sz="3200" dirty="0">
                <a:solidFill>
                  <a:srgbClr val="0000FF"/>
                </a:solidFill>
              </a:rPr>
              <a:t>metamorphopsia  (</a:t>
            </a:r>
            <a:r>
              <a:rPr lang="en-US" sz="3200" i="1" dirty="0">
                <a:solidFill>
                  <a:srgbClr val="0000FF"/>
                </a:solidFill>
              </a:rPr>
              <a:t>Alice in Wonderland</a:t>
            </a:r>
            <a:r>
              <a:rPr lang="en-US" sz="3200" dirty="0">
                <a:solidFill>
                  <a:srgbClr val="0000FF"/>
                </a:solidFill>
              </a:rPr>
              <a:t>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72765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594" name="Picture 2" descr="C:\My Documents\My Pictures\alicekl.jpg">
            <a:extLst>
              <a:ext uri="{FF2B5EF4-FFF2-40B4-BE49-F238E27FC236}">
                <a16:creationId xmlns:a16="http://schemas.microsoft.com/office/drawing/2014/main" id="{8DB8ED3B-E3CE-DC4B-8A66-234D227CC4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0" y="0"/>
            <a:ext cx="7543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3075937"/>
      </p:ext>
    </p:extLst>
  </p:cSld>
  <p:clrMapOvr>
    <a:masterClrMapping/>
  </p:clrMapOvr>
  <p:transition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B1403-D02B-BC01-F0CB-0111C0D2C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Treatment of mononucleo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46990B-A17F-15E2-9673-3C80CF65CD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panose="05000000000000000000" pitchFamily="2" charset="2"/>
              <a:buChar char="Ø"/>
              <a:defRPr/>
            </a:pPr>
            <a:r>
              <a:rPr lang="en-US" sz="3200" dirty="0">
                <a:solidFill>
                  <a:srgbClr val="000000"/>
                </a:solidFill>
              </a:rPr>
              <a:t>acyclovir has no effect on the duration or severity of clinical symptoms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en-US" sz="3200" dirty="0">
                <a:solidFill>
                  <a:srgbClr val="000000"/>
                </a:solidFill>
              </a:rPr>
              <a:t>insufficient evidence of a clinically relevant benefit to recommend routine use of corticosteroids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en-US" sz="3200" dirty="0">
                <a:solidFill>
                  <a:srgbClr val="000000"/>
                </a:solidFill>
              </a:rPr>
              <a:t>clinical experience supports corticosteroid use for severe complications, including upper airway obstruction, hemolytic anemia and thrombocytopenia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8055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A4AC5506-6312-4701-8D3C-40187889A9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50D70A-F08B-5C20-3897-F84C690E5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CDC Dashboard </a:t>
            </a:r>
            <a:r>
              <a:rPr lang="en-US" sz="2800">
                <a:latin typeface="+mj-lt"/>
                <a:ea typeface="+mj-ea"/>
                <a:cs typeface="+mj-cs"/>
              </a:rPr>
              <a:t>Reported Cases Tickborne Disease</a:t>
            </a:r>
            <a:r>
              <a:rPr lang="en-US" sz="2800" dirty="0">
                <a:latin typeface="+mj-lt"/>
                <a:ea typeface="+mj-ea"/>
                <a:cs typeface="+mj-cs"/>
              </a:rPr>
              <a:t>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DFF2EE-0838-82BA-1665-1CC0DF1AE6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6002" y="1675228"/>
            <a:ext cx="6919997" cy="43941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5BFE582-96E8-EE3C-5448-1AE64982FA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19753" y="6215368"/>
            <a:ext cx="1013548" cy="2819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786DA66-14AD-E184-ED92-1E2E6ABECD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8844" y="6208957"/>
            <a:ext cx="1044030" cy="30482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52A40B2-A36A-0F53-AC9C-5C9AE2DF73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8418" y="6222988"/>
            <a:ext cx="815411" cy="27434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498CC89-6B2D-75C9-A478-CA463C5DE9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19371" y="6247061"/>
            <a:ext cx="853514" cy="26672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64D1B0D-7D91-F302-084B-6D47A58648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45496" y="6231819"/>
            <a:ext cx="1394581" cy="28196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A1D72CA-D82F-F3DF-9236-2901812F0A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12686" y="6231819"/>
            <a:ext cx="1615580" cy="28196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BF01D78-0843-8FE0-50FC-29EC9BCE4D9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9754" y="5787202"/>
            <a:ext cx="1737511" cy="23624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DCD969A-0D51-6612-DB0D-DB2C06DE49D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57170" y="5783392"/>
            <a:ext cx="1432684" cy="243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00307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4505F-1186-8F86-40F3-F0AD40FC1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40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reatment Guidelines: </a:t>
            </a:r>
            <a:r>
              <a:rPr lang="en-US" sz="4000" i="0" dirty="0">
                <a:solidFill>
                  <a:srgbClr val="C00000"/>
                </a:solidFill>
                <a:effectLst/>
                <a:latin typeface="Arial" panose="020B0604020202020204" pitchFamily="34" charset="0"/>
              </a:rPr>
              <a:t>Mononucleosi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9D5E02-7D1E-EBDC-D981-877F43FE4B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802187"/>
          </a:xfrm>
        </p:spPr>
        <p:txBody>
          <a:bodyPr/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uthorized health and wellness staff may treat infectious mononucleosis as follows: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ll students with a diagnosis of acute mononucleosis should be referred to the center physician for evaluation and development of a management plan.  MSWR can be discussed at that time.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creen the student for simultaneous streptococcal throat infection.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dvise the student to avoid sharing drinks, utensils, or toiletries, and to avoid exchange of bodily fluids (e.g., no kissing and no unprotected sexual behavior).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void contact sports and heavy exertion for 6-8 weeks after onset of infection, until cleared by the center physician with resolution of splenomegaly.</a:t>
            </a:r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ote: </a:t>
            </a:r>
            <a:r>
              <a:rPr lang="en-US" sz="24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Steroids are useful in patients with complications as determined by the center physician; antiviral medications have no proven benefit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1435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B4505F-1186-8F86-40F3-F0AD40FC1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40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reatment Guidelines: </a:t>
            </a:r>
            <a:r>
              <a:rPr lang="en-US" sz="4000" i="0" dirty="0">
                <a:solidFill>
                  <a:srgbClr val="C00000"/>
                </a:solidFill>
                <a:effectLst/>
                <a:latin typeface="Arial" panose="020B0604020202020204" pitchFamily="34" charset="0"/>
              </a:rPr>
              <a:t>Mononucleosi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9D5E02-7D1E-EBDC-D981-877F43FE4B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WHEN TO REFER TO THE CENTER PHYSICIAN</a:t>
            </a:r>
            <a:endParaRPr lang="en-US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marL="0" marR="0" lvl="0" indent="0">
              <a:spcBef>
                <a:spcPts val="0"/>
              </a:spcBef>
              <a:spcAft>
                <a:spcPts val="0"/>
              </a:spcAft>
              <a:buSzPts val="1000"/>
              <a:buNone/>
              <a:tabLst>
                <a:tab pos="228600" algn="l"/>
              </a:tabLst>
            </a:pP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If the student has difficulty breathing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marL="0" marR="0" lvl="0" indent="0">
              <a:spcBef>
                <a:spcPts val="0"/>
              </a:spcBef>
              <a:spcAft>
                <a:spcPts val="0"/>
              </a:spcAft>
              <a:buSzPts val="1000"/>
              <a:buNone/>
              <a:tabLst>
                <a:tab pos="228600" algn="l"/>
              </a:tabLst>
            </a:pP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If the student cannot swallow and maintain adequate</a:t>
            </a:r>
          </a:p>
          <a:p>
            <a:pPr marL="0" marR="0" lvl="0" indent="0">
              <a:spcBef>
                <a:spcPts val="0"/>
              </a:spcBef>
              <a:spcAft>
                <a:spcPts val="0"/>
              </a:spcAft>
              <a:buSzPts val="1000"/>
              <a:buNone/>
              <a:tabLst>
                <a:tab pos="228600" algn="l"/>
              </a:tabLst>
            </a:pPr>
            <a:r>
              <a:rPr lang="en-US" dirty="0">
                <a:latin typeface="Arial" panose="020B0604020202020204" pitchFamily="34" charset="0"/>
                <a:ea typeface="Times New Roman" panose="02020603050405020304" pitchFamily="18" charset="0"/>
              </a:rPr>
              <a:t>     </a:t>
            </a: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hydration</a:t>
            </a:r>
          </a:p>
          <a:p>
            <a:pPr marL="0" marR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marL="0" marR="0" lvl="0" indent="0">
              <a:spcBef>
                <a:spcPts val="0"/>
              </a:spcBef>
              <a:spcAft>
                <a:spcPts val="0"/>
              </a:spcAft>
              <a:buSzPts val="1000"/>
              <a:buNone/>
              <a:tabLst>
                <a:tab pos="228600" algn="l"/>
              </a:tabLst>
            </a:pP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If the student’s symptoms (malaise, fatigue) worsen, and </a:t>
            </a:r>
          </a:p>
          <a:p>
            <a:pPr marL="0" marR="0" lvl="0" indent="0">
              <a:spcBef>
                <a:spcPts val="0"/>
              </a:spcBef>
              <a:spcAft>
                <a:spcPts val="0"/>
              </a:spcAft>
              <a:buSzPts val="1000"/>
              <a:buNone/>
              <a:tabLst>
                <a:tab pos="228600" algn="l"/>
              </a:tabLst>
            </a:pPr>
            <a:r>
              <a:rPr lang="en-US" dirty="0">
                <a:latin typeface="Arial" panose="020B0604020202020204" pitchFamily="34" charset="0"/>
                <a:ea typeface="Times New Roman" panose="02020603050405020304" pitchFamily="18" charset="0"/>
              </a:rPr>
              <a:t>       </a:t>
            </a:r>
            <a:r>
              <a:rPr lang="en-US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student is unable to attend class</a:t>
            </a:r>
          </a:p>
          <a:p>
            <a:pPr marL="5080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51DF72E-E227-FA23-BB2C-CB7D3258B4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2552674"/>
            <a:ext cx="645968" cy="70493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90DAE33-AE39-B80A-07D9-9C57AC9AED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3429000"/>
            <a:ext cx="645968" cy="7049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59AD7EB-1BF9-1276-8BA1-5C55085155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4450513"/>
            <a:ext cx="645968" cy="704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61971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F97B6-D016-4ADF-8C80-E3064A140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C00000"/>
                </a:solidFill>
              </a:rPr>
              <a:t>Open Foru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7713D7-D4A4-4D8E-BC25-240EEA3C7F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466491"/>
            <a:ext cx="10515600" cy="4209690"/>
          </a:xfrm>
        </p:spPr>
        <p:txBody>
          <a:bodyPr/>
          <a:lstStyle/>
          <a:p>
            <a:pPr marL="11430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DFE7E3-72FC-4992-A8AB-1C48128067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3625" y="1599351"/>
            <a:ext cx="4231019" cy="19201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565FC6F-562D-4D2B-B587-E14F2EF8DA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0142" y="3698496"/>
            <a:ext cx="2459765" cy="18448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8865106-F037-43B7-88A3-4CAEC9476E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200" y="1473220"/>
            <a:ext cx="5147105" cy="3943969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B06373DF-2DEF-4D08-A012-91252A8E44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184666"/>
            <a:ext cx="12192000" cy="3693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FEA3340-4D54-D948-BD4E-BCFE85730889}"/>
              </a:ext>
            </a:extLst>
          </p:cNvPr>
          <p:cNvSpPr txBox="1"/>
          <p:nvPr/>
        </p:nvSpPr>
        <p:spPr>
          <a:xfrm>
            <a:off x="3486151" y="5943600"/>
            <a:ext cx="56959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https://www.surveymonkey.com/r/PM8HSJM</a:t>
            </a:r>
          </a:p>
        </p:txBody>
      </p:sp>
    </p:spTree>
    <p:extLst>
      <p:ext uri="{BB962C8B-B14F-4D97-AF65-F5344CB8AC3E}">
        <p14:creationId xmlns:p14="http://schemas.microsoft.com/office/powerpoint/2010/main" val="254438573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27"/>
          <p:cNvSpPr txBox="1">
            <a:spLocks noGrp="1"/>
          </p:cNvSpPr>
          <p:nvPr>
            <p:ph type="ctrTitle"/>
          </p:nvPr>
        </p:nvSpPr>
        <p:spPr>
          <a:xfrm>
            <a:off x="0" y="603121"/>
            <a:ext cx="11186356" cy="2025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/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2400" b="1" dirty="0">
                <a:solidFill>
                  <a:srgbClr val="C00000"/>
                </a:solidFill>
              </a:rPr>
            </a:br>
            <a:br>
              <a:rPr lang="en-US" sz="2400" b="1" dirty="0">
                <a:solidFill>
                  <a:srgbClr val="C00000"/>
                </a:solidFill>
              </a:rPr>
            </a:br>
            <a:br>
              <a:rPr lang="en-US" sz="2400" b="1" dirty="0">
                <a:solidFill>
                  <a:srgbClr val="C00000"/>
                </a:solidFill>
              </a:rPr>
            </a:br>
            <a: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Regional Medical Specialists</a:t>
            </a:r>
            <a:b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0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Contact us with policy or clinical questions</a:t>
            </a:r>
            <a:endParaRPr sz="4000" dirty="0">
              <a:solidFill>
                <a:srgbClr val="C00000"/>
              </a:solidFill>
            </a:endParaRPr>
          </a:p>
        </p:txBody>
      </p:sp>
      <p:sp>
        <p:nvSpPr>
          <p:cNvPr id="177" name="Google Shape;177;p27"/>
          <p:cNvSpPr txBox="1">
            <a:spLocks noGrp="1"/>
          </p:cNvSpPr>
          <p:nvPr>
            <p:ph type="subTitle" idx="1"/>
          </p:nvPr>
        </p:nvSpPr>
        <p:spPr>
          <a:xfrm>
            <a:off x="415095" y="3629892"/>
            <a:ext cx="11369615" cy="18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b="1" dirty="0">
                <a:solidFill>
                  <a:srgbClr val="C00000"/>
                </a:solidFill>
              </a:rPr>
              <a:t>	           </a:t>
            </a:r>
            <a:r>
              <a:rPr lang="en-US" b="1" dirty="0">
                <a:solidFill>
                  <a:srgbClr val="0000FF"/>
                </a:solidFill>
              </a:rPr>
              <a:t>	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952146-17B2-4F52-9C99-D67B6BA2B9B1}"/>
              </a:ext>
            </a:extLst>
          </p:cNvPr>
          <p:cNvSpPr txBox="1"/>
          <p:nvPr/>
        </p:nvSpPr>
        <p:spPr>
          <a:xfrm>
            <a:off x="576776" y="3228108"/>
            <a:ext cx="1071520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	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John Kulig MD MPH		Region 1 Boston &amp; Region 2 Philadelphia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	Gary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trokosch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MD 		Region 3 Atlanta &amp; Region 5 Chicago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	Drew Alexander MD		Region 4 Dalla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3700"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	Sara Mackenzie MD MPH	Region 6 San Francisco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D873A0-97A5-DEC7-A454-9FE24D1A320E}"/>
              </a:ext>
            </a:extLst>
          </p:cNvPr>
          <p:cNvSpPr txBox="1"/>
          <p:nvPr/>
        </p:nvSpPr>
        <p:spPr>
          <a:xfrm>
            <a:off x="2057400" y="5375736"/>
            <a:ext cx="843510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IPAA compliant messages =&gt; use @jobcorps.org email address </a:t>
            </a:r>
          </a:p>
          <a:p>
            <a:r>
              <a:rPr lang="en-US" sz="2400" b="1" dirty="0">
                <a:solidFill>
                  <a:srgbClr val="C00000"/>
                </a:solidFill>
              </a:rPr>
              <a:t>       </a:t>
            </a:r>
          </a:p>
          <a:p>
            <a:r>
              <a:rPr lang="en-US" sz="2400" b="1" dirty="0">
                <a:solidFill>
                  <a:srgbClr val="C00000"/>
                </a:solidFill>
              </a:rPr>
              <a:t>       https://www.surveymonkey.com/</a:t>
            </a:r>
            <a:r>
              <a:rPr lang="en-US" sz="2400" b="1">
                <a:solidFill>
                  <a:srgbClr val="C00000"/>
                </a:solidFill>
              </a:rPr>
              <a:t>r/PM8HSJM</a:t>
            </a:r>
            <a:endParaRPr lang="en-US" sz="2400" b="1" dirty="0">
              <a:solidFill>
                <a:srgbClr val="C00000"/>
              </a:solidFill>
            </a:endParaRPr>
          </a:p>
          <a:p>
            <a:endParaRPr lang="en-US" sz="24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29349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Google Shape;176;p27"/>
          <p:cNvSpPr txBox="1">
            <a:spLocks noGrp="1"/>
          </p:cNvSpPr>
          <p:nvPr>
            <p:ph type="ctrTitle"/>
          </p:nvPr>
        </p:nvSpPr>
        <p:spPr>
          <a:xfrm>
            <a:off x="415095" y="517236"/>
            <a:ext cx="11186356" cy="7347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lvl="0"/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8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br>
              <a:rPr lang="en-US" sz="40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4400" b="1" dirty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M</a:t>
            </a:r>
            <a:r>
              <a:rPr lang="en-US" sz="4400" b="1" dirty="0">
                <a:solidFill>
                  <a:srgbClr val="C00000"/>
                </a:solidFill>
              </a:rPr>
              <a:t>onthly Teleconference</a:t>
            </a:r>
            <a:endParaRPr sz="4400" dirty="0">
              <a:solidFill>
                <a:srgbClr val="00B050"/>
              </a:solidFill>
            </a:endParaRPr>
          </a:p>
        </p:txBody>
      </p:sp>
      <p:sp>
        <p:nvSpPr>
          <p:cNvPr id="177" name="Google Shape;177;p27"/>
          <p:cNvSpPr txBox="1">
            <a:spLocks noGrp="1"/>
          </p:cNvSpPr>
          <p:nvPr>
            <p:ph type="subTitle" idx="1"/>
          </p:nvPr>
        </p:nvSpPr>
        <p:spPr>
          <a:xfrm>
            <a:off x="415095" y="3629892"/>
            <a:ext cx="11369615" cy="18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endParaRPr lang="en-US" b="1" dirty="0">
              <a:solidFill>
                <a:srgbClr val="0000FF"/>
              </a:solidFill>
              <a:hlinkClick r:id="rId3"/>
            </a:endParaRPr>
          </a:p>
          <a:p>
            <a:pPr marL="0" indent="0" algn="l">
              <a:spcBef>
                <a:spcPts val="0"/>
              </a:spcBef>
              <a:buSzPts val="3700"/>
            </a:pPr>
            <a:r>
              <a:rPr lang="en-US" b="1" dirty="0">
                <a:solidFill>
                  <a:srgbClr val="C00000"/>
                </a:solidFill>
              </a:rPr>
              <a:t>	           </a:t>
            </a:r>
            <a:r>
              <a:rPr lang="en-US" b="1" dirty="0">
                <a:solidFill>
                  <a:srgbClr val="0000FF"/>
                </a:solidFill>
              </a:rPr>
              <a:t>	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4D7132-CA9E-C56B-66E7-1E3B16B7C983}"/>
              </a:ext>
            </a:extLst>
          </p:cNvPr>
          <p:cNvSpPr txBox="1"/>
          <p:nvPr/>
        </p:nvSpPr>
        <p:spPr>
          <a:xfrm>
            <a:off x="2264898" y="1519311"/>
            <a:ext cx="82014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Next call: Wednesday, June 26</a:t>
            </a:r>
            <a:r>
              <a:rPr lang="en-US" sz="4000" b="1" baseline="300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th</a:t>
            </a:r>
            <a:r>
              <a:rPr lang="en-US" sz="4000" b="1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, 2024</a:t>
            </a:r>
            <a:endParaRPr lang="en-US" sz="4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7B8C5F-1B65-B709-522D-EA17FBF692C2}"/>
              </a:ext>
            </a:extLst>
          </p:cNvPr>
          <p:cNvSpPr txBox="1"/>
          <p:nvPr/>
        </p:nvSpPr>
        <p:spPr>
          <a:xfrm>
            <a:off x="2560319" y="2494483"/>
            <a:ext cx="8201465" cy="36337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Center Physician Call - June 2024</a:t>
            </a:r>
            <a:br>
              <a:rPr lang="en-US" sz="1800" kern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800" b="1" kern="0">
                <a:solidFill>
                  <a:srgbClr val="222222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Times New Roman" panose="02020603050405020304" pitchFamily="18" charset="0"/>
              </a:rPr>
              <a:t>June </a:t>
            </a:r>
            <a:r>
              <a:rPr lang="en-US" sz="1800" b="1" kern="0" dirty="0">
                <a:solidFill>
                  <a:srgbClr val="222222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ea typeface="Times New Roman" panose="02020603050405020304" pitchFamily="18" charset="0"/>
              </a:rPr>
              <a:t>26, 2024, 2:00 – 3:00 PM</a:t>
            </a:r>
            <a:r>
              <a:rPr lang="en-US" sz="1800" b="1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 (America/</a:t>
            </a:r>
            <a:r>
              <a:rPr lang="en-US" sz="1800" b="1" kern="0" dirty="0" err="1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New_York</a:t>
            </a:r>
            <a:r>
              <a:rPr lang="en-US" sz="1800" b="1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)</a:t>
            </a: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800" b="1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lease join my meeting from your computer, tablet or smartphone.</a:t>
            </a: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800" u="sng" kern="0" dirty="0">
                <a:solidFill>
                  <a:srgbClr val="1155CC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https://meet.goto.com/604629957</a:t>
            </a: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800" b="1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You can also dial in using your phone.</a:t>
            </a: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ccess Code: 604-629-957</a:t>
            </a: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United States: </a:t>
            </a:r>
            <a:r>
              <a:rPr lang="en-US" sz="1800" u="sng" kern="0" dirty="0">
                <a:solidFill>
                  <a:srgbClr val="1155CC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+1 (224) 501-3412</a:t>
            </a: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800" b="1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Get the app now and be ready when your first meeting starts:</a:t>
            </a:r>
            <a:br>
              <a:rPr lang="en-US" sz="1800" kern="0" dirty="0">
                <a:solidFill>
                  <a:srgbClr val="2222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800" u="sng" kern="0" dirty="0">
                <a:solidFill>
                  <a:srgbClr val="1155CC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https://meet.goto.com/install</a:t>
            </a:r>
            <a:r>
              <a:rPr lang="en-US" sz="1800" kern="0" dirty="0">
                <a:solidFill>
                  <a:srgbClr val="222222"/>
                </a:solidFill>
                <a:effectLst/>
                <a:highlight>
                  <a:srgbClr val="FFFFFF"/>
                </a:highlight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600" kern="100" dirty="0">
              <a:effectLst/>
              <a:highlight>
                <a:srgbClr val="FFFFFF"/>
              </a:highligh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469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Borrelioses (Lyme Disease)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2"/>
            <a:ext cx="562508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ncubation: 3-30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Erythema </a:t>
            </a:r>
            <a:r>
              <a:rPr lang="en-US" sz="2800" dirty="0" err="1">
                <a:solidFill>
                  <a:prstClr val="white"/>
                </a:solidFill>
                <a:latin typeface="Calibri"/>
              </a:rPr>
              <a:t>migrans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 – 70-80% hav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Fever, chills, malaise, fatigue, headache, myalgia, arthralgia, lymphadenopath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Neurologic – neuritis, meningitis,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Carditis with conduction </a:t>
            </a:r>
            <a:r>
              <a:rPr lang="en-US" sz="2800" dirty="0" err="1">
                <a:solidFill>
                  <a:prstClr val="white"/>
                </a:solidFill>
                <a:latin typeface="Calibri"/>
              </a:rPr>
              <a:t>abn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Arthritis- transient, migratory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1DFBFB-F37E-3E08-AA11-180745449B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7377" y="1564008"/>
            <a:ext cx="1928027" cy="186706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AC46B26-29A8-A020-1613-4A3C5C4FB298}"/>
              </a:ext>
            </a:extLst>
          </p:cNvPr>
          <p:cNvSpPr txBox="1"/>
          <p:nvPr/>
        </p:nvSpPr>
        <p:spPr>
          <a:xfrm>
            <a:off x="1850172" y="6214534"/>
            <a:ext cx="5405554" cy="367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ckborne Diseases of the United States | Ticks | CDC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99C8D8-8F9D-BB89-5AC2-6BEE2CC14A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27377" y="3824143"/>
            <a:ext cx="1806097" cy="172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65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Borrelioses (Lyme Disease)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221660" y="1805043"/>
            <a:ext cx="5625082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aboratory: elevated ESR, mild elevated LFTs, microscopic hematuria/proteinur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wo-step serologic te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reatment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f EM rash and in area with Lyme – treat empiricall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Doxycycline or amoxicillin or cefuroxim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1DFBFB-F37E-3E08-AA11-180745449B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27377" y="1564008"/>
            <a:ext cx="1928027" cy="186706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AC46B26-29A8-A020-1613-4A3C5C4FB298}"/>
              </a:ext>
            </a:extLst>
          </p:cNvPr>
          <p:cNvSpPr txBox="1"/>
          <p:nvPr/>
        </p:nvSpPr>
        <p:spPr>
          <a:xfrm>
            <a:off x="1850172" y="6214534"/>
            <a:ext cx="5405554" cy="367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prstClr val="white"/>
                </a:solidFill>
                <a:latin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ckborne Diseases of the United States | Ticks | CDC</a:t>
            </a: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99C8D8-8F9D-BB89-5AC2-6BEE2CC14A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27377" y="3824143"/>
            <a:ext cx="1806097" cy="1729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3875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Tickborne Relapsing Fevers (Borrelia)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189955" y="1548564"/>
            <a:ext cx="791108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 Light"/>
              </a:rPr>
              <a:t>Borrelia </a:t>
            </a:r>
            <a:r>
              <a:rPr lang="en-US" sz="2800" dirty="0" err="1">
                <a:solidFill>
                  <a:prstClr val="white"/>
                </a:solidFill>
                <a:latin typeface="Calibri Light"/>
              </a:rPr>
              <a:t>hermsii</a:t>
            </a:r>
            <a:r>
              <a:rPr lang="en-US" sz="2800" dirty="0">
                <a:solidFill>
                  <a:prstClr val="white"/>
                </a:solidFill>
                <a:latin typeface="Calibri Light"/>
              </a:rPr>
              <a:t>, B. </a:t>
            </a:r>
            <a:r>
              <a:rPr lang="en-US" sz="2800" dirty="0" err="1">
                <a:solidFill>
                  <a:prstClr val="white"/>
                </a:solidFill>
                <a:latin typeface="Calibri Light"/>
              </a:rPr>
              <a:t>turicatae</a:t>
            </a:r>
            <a:r>
              <a:rPr lang="en-US" sz="2800" dirty="0">
                <a:solidFill>
                  <a:prstClr val="white"/>
                </a:solidFill>
                <a:latin typeface="Calibri Light"/>
              </a:rPr>
              <a:t>: 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Western mountainous states &amp; Texa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Borrelia miyamotoi: upper Midwest, northeastern and mid-Atlantic states; Pacific coastal; most common July and Augu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Incubation: 4-21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Recurrent febrile episodes lasting ~3 days and separated by afebrile periods ~7 day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High fever, chills/rigor, sweats, headache, myalgia, arthralgia, dizziness, nausea/vomiting, facial palsy (rare)</a:t>
            </a:r>
          </a:p>
        </p:txBody>
      </p:sp>
    </p:spTree>
    <p:extLst>
      <p:ext uri="{BB962C8B-B14F-4D97-AF65-F5344CB8AC3E}">
        <p14:creationId xmlns:p14="http://schemas.microsoft.com/office/powerpoint/2010/main" val="14560558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0C17B6-C74D-2896-B50D-D793597066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9A12FA7-69DF-BAFA-4B9B-0E6EB9C86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524000" y="651753"/>
            <a:ext cx="9144000" cy="73655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6EB4E-AEAA-30CA-1BDC-43661C5E20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1400" y="643467"/>
            <a:ext cx="8408193" cy="744836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/>
            <a:r>
              <a:rPr lang="en-US" sz="2800" dirty="0">
                <a:latin typeface="+mj-lt"/>
                <a:ea typeface="+mj-ea"/>
                <a:cs typeface="+mj-cs"/>
              </a:rPr>
              <a:t> Tickborne Relapsing Fevers (Borrelia </a:t>
            </a:r>
            <a:r>
              <a:rPr lang="en-US" sz="2800" dirty="0" err="1">
                <a:latin typeface="+mj-lt"/>
                <a:ea typeface="+mj-ea"/>
                <a:cs typeface="+mj-cs"/>
              </a:rPr>
              <a:t>hermsii</a:t>
            </a:r>
            <a:r>
              <a:rPr lang="en-US" sz="2800" dirty="0">
                <a:latin typeface="+mj-lt"/>
                <a:ea typeface="+mj-ea"/>
                <a:cs typeface="+mj-cs"/>
              </a:rPr>
              <a:t>, B. </a:t>
            </a:r>
            <a:r>
              <a:rPr lang="en-US" sz="2800" dirty="0" err="1">
                <a:latin typeface="+mj-lt"/>
                <a:ea typeface="+mj-ea"/>
                <a:cs typeface="+mj-cs"/>
              </a:rPr>
              <a:t>turicatae</a:t>
            </a:r>
            <a:r>
              <a:rPr lang="en-US" sz="2800" dirty="0">
                <a:latin typeface="+mj-lt"/>
                <a:ea typeface="+mj-ea"/>
                <a:cs typeface="+mj-cs"/>
              </a:rPr>
              <a:t>)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DB094E-4C44-9962-76E4-4E2FB59B9E56}"/>
              </a:ext>
            </a:extLst>
          </p:cNvPr>
          <p:cNvSpPr txBox="1"/>
          <p:nvPr/>
        </p:nvSpPr>
        <p:spPr>
          <a:xfrm>
            <a:off x="2140460" y="1537413"/>
            <a:ext cx="7911081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ab: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leukocytosis, thrombocytopenia, mild hyperbilirubinemia, increased ESR, prolonged PT/PT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Spirochetes on peripheral blood during febrile episod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Molecular PCR or serolog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Treatment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Doxycycline, azithromycin, Penicillin G IV, ceftriaxon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prstClr val="white"/>
                </a:solidFill>
                <a:latin typeface="Calibri"/>
              </a:rPr>
              <a:t>Monitor for first 4 hours of treatment for </a:t>
            </a:r>
            <a:r>
              <a:rPr lang="en-US" sz="2800" dirty="0" err="1">
                <a:solidFill>
                  <a:prstClr val="white"/>
                </a:solidFill>
                <a:latin typeface="Calibri"/>
              </a:rPr>
              <a:t>Jarisch-Herxheimer</a:t>
            </a:r>
            <a:r>
              <a:rPr lang="en-US" sz="2800" dirty="0">
                <a:solidFill>
                  <a:prstClr val="white"/>
                </a:solidFill>
                <a:latin typeface="Calibri"/>
              </a:rPr>
              <a:t> rea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277823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NCIRD-2016-9b">
  <a:themeElements>
    <a:clrScheme name="colors-cdc-2016">
      <a:dk1>
        <a:srgbClr val="0B40A5"/>
      </a:dk1>
      <a:lt1>
        <a:srgbClr val="FFFFFF"/>
      </a:lt1>
      <a:dk2>
        <a:srgbClr val="3B495B"/>
      </a:dk2>
      <a:lt2>
        <a:srgbClr val="3A485A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CIRD-2016-9b" id="{C72C50AE-E64E-4C93-A1D5-08358D5E7A36}" vid="{BC44D0F9-662E-4239-B54B-CC907E7FC48E}"/>
    </a:ext>
  </a:extLst>
</a:theme>
</file>

<file path=ppt/theme/theme4.xml><?xml version="1.0" encoding="utf-8"?>
<a:theme xmlns:a="http://schemas.openxmlformats.org/drawingml/2006/main" name="NCIRD-2016-9b">
  <a:themeElements>
    <a:clrScheme name="colors-cdc-2016">
      <a:dk1>
        <a:srgbClr val="0B40A5"/>
      </a:dk1>
      <a:lt1>
        <a:srgbClr val="FFFFFF"/>
      </a:lt1>
      <a:dk2>
        <a:srgbClr val="3B495B"/>
      </a:dk2>
      <a:lt2>
        <a:srgbClr val="3A485A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00B0F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CIRD-2016-9b" id="{C72C50AE-E64E-4C93-A1D5-08358D5E7A36}" vid="{BC44D0F9-662E-4239-B54B-CC907E7FC48E}"/>
    </a:ext>
  </a:extLst>
</a:theme>
</file>

<file path=ppt/theme/theme5.xml><?xml version="1.0" encoding="utf-8"?>
<a:theme xmlns:a="http://schemas.openxmlformats.org/drawingml/2006/main" name="7_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39_sidebars">
  <a:themeElements>
    <a:clrScheme name="">
      <a:dk1>
        <a:srgbClr val="00279F"/>
      </a:dk1>
      <a:lt1>
        <a:srgbClr val="FFFFFF"/>
      </a:lt1>
      <a:dk2>
        <a:srgbClr val="0000FF"/>
      </a:dk2>
      <a:lt2>
        <a:srgbClr val="FFFF00"/>
      </a:lt2>
      <a:accent1>
        <a:srgbClr val="F57B49"/>
      </a:accent1>
      <a:accent2>
        <a:srgbClr val="FF00FF"/>
      </a:accent2>
      <a:accent3>
        <a:srgbClr val="AAAAFF"/>
      </a:accent3>
      <a:accent4>
        <a:srgbClr val="DADADA"/>
      </a:accent4>
      <a:accent5>
        <a:srgbClr val="F9BFB1"/>
      </a:accent5>
      <a:accent6>
        <a:srgbClr val="E700E7"/>
      </a:accent6>
      <a:hlink>
        <a:srgbClr val="FF0000"/>
      </a:hlink>
      <a:folHlink>
        <a:srgbClr val="919191"/>
      </a:folHlink>
    </a:clrScheme>
    <a:fontScheme name="sidebars.ppt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sidebars.pp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debars.pp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sidebars">
  <a:themeElements>
    <a:clrScheme name="">
      <a:dk1>
        <a:srgbClr val="00279F"/>
      </a:dk1>
      <a:lt1>
        <a:srgbClr val="FFFFFF"/>
      </a:lt1>
      <a:dk2>
        <a:srgbClr val="0000FF"/>
      </a:dk2>
      <a:lt2>
        <a:srgbClr val="FFFF00"/>
      </a:lt2>
      <a:accent1>
        <a:srgbClr val="F57B49"/>
      </a:accent1>
      <a:accent2>
        <a:srgbClr val="FF00FF"/>
      </a:accent2>
      <a:accent3>
        <a:srgbClr val="AAAAFF"/>
      </a:accent3>
      <a:accent4>
        <a:srgbClr val="DADADA"/>
      </a:accent4>
      <a:accent5>
        <a:srgbClr val="F9BFB1"/>
      </a:accent5>
      <a:accent6>
        <a:srgbClr val="E700E7"/>
      </a:accent6>
      <a:hlink>
        <a:srgbClr val="FF0000"/>
      </a:hlink>
      <a:folHlink>
        <a:srgbClr val="919191"/>
      </a:folHlink>
    </a:clrScheme>
    <a:fontScheme name="sidebars.ppt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sidebars.pp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debars.pp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debars.pp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1BBDD672BAB240AE25E8C18386348A" ma:contentTypeVersion="5" ma:contentTypeDescription="Create a new document." ma:contentTypeScope="" ma:versionID="edb88f5c1ceec33db4cb0b7c993a8ce5">
  <xsd:schema xmlns:xsd="http://www.w3.org/2001/XMLSchema" xmlns:xs="http://www.w3.org/2001/XMLSchema" xmlns:p="http://schemas.microsoft.com/office/2006/metadata/properties" xmlns:ns1="http://schemas.microsoft.com/sharepoint/v3" xmlns:ns2="b22f8f74-215c-4154-9939-bd29e4e8980e" targetNamespace="http://schemas.microsoft.com/office/2006/metadata/properties" ma:root="true" ma:fieldsID="5b851cb5bcdff340b09bfb219dc0c9f3" ns1:_="" ns2:_="">
    <xsd:import namespace="http://schemas.microsoft.com/sharepoint/v3"/>
    <xsd:import namespace="b22f8f74-215c-4154-9939-bd29e4e8980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5" nillable="true" ma:displayName="Scheduling End Date" ma:description="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22f8f74-215c-4154-9939-bd29e4e8980e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b22f8f74-215c-4154-9939-bd29e4e8980e">XRUYQT3274NZ-681238054-2133</_dlc_DocId>
    <_dlc_DocIdUrl xmlns="b22f8f74-215c-4154-9939-bd29e4e8980e">
      <Url>https://supportservices.jobcorps.gov/health/_layouts/15/DocIdRedir.aspx?ID=XRUYQT3274NZ-681238054-2133</Url>
      <Description>XRUYQT3274NZ-681238054-2133</Description>
    </_dlc_DocIdUrl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0BC5848-E5D8-42F4-A4F2-B4C67C95D318}"/>
</file>

<file path=customXml/itemProps2.xml><?xml version="1.0" encoding="utf-8"?>
<ds:datastoreItem xmlns:ds="http://schemas.openxmlformats.org/officeDocument/2006/customXml" ds:itemID="{F2756B3B-0EF9-4C09-94FC-C98313185255}"/>
</file>

<file path=customXml/itemProps3.xml><?xml version="1.0" encoding="utf-8"?>
<ds:datastoreItem xmlns:ds="http://schemas.openxmlformats.org/officeDocument/2006/customXml" ds:itemID="{BEDF791C-4A6D-4711-B39B-0687D8DD3CCD}"/>
</file>

<file path=customXml/itemProps4.xml><?xml version="1.0" encoding="utf-8"?>
<ds:datastoreItem xmlns:ds="http://schemas.openxmlformats.org/officeDocument/2006/customXml" ds:itemID="{2019FB18-F46C-4DAA-A440-EA282E6FE854}"/>
</file>

<file path=docProps/app.xml><?xml version="1.0" encoding="utf-8"?>
<Properties xmlns="http://schemas.openxmlformats.org/officeDocument/2006/extended-properties" xmlns:vt="http://schemas.openxmlformats.org/officeDocument/2006/docPropsVTypes">
  <TotalTime>34766</TotalTime>
  <Words>2548</Words>
  <Application>Microsoft Office PowerPoint</Application>
  <PresentationFormat>Widescreen</PresentationFormat>
  <Paragraphs>331</Paragraphs>
  <Slides>54</Slides>
  <Notes>4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4</vt:i4>
      </vt:variant>
    </vt:vector>
  </HeadingPairs>
  <TitlesOfParts>
    <vt:vector size="74" baseType="lpstr">
      <vt:lpstr>Arial</vt:lpstr>
      <vt:lpstr>Avenir Book</vt:lpstr>
      <vt:lpstr>Avenir Medium</vt:lpstr>
      <vt:lpstr>Calibri</vt:lpstr>
      <vt:lpstr>Calibri Light</vt:lpstr>
      <vt:lpstr>Monotype Sorts</vt:lpstr>
      <vt:lpstr>Myriad Web Pro</vt:lpstr>
      <vt:lpstr>Nunito</vt:lpstr>
      <vt:lpstr>Times New Roman</vt:lpstr>
      <vt:lpstr>Wingdings</vt:lpstr>
      <vt:lpstr>1_Office Theme</vt:lpstr>
      <vt:lpstr>6_Master</vt:lpstr>
      <vt:lpstr>3_NCIRD-2016-9b</vt:lpstr>
      <vt:lpstr>NCIRD-2016-9b</vt:lpstr>
      <vt:lpstr>7_Master</vt:lpstr>
      <vt:lpstr>39_sidebars</vt:lpstr>
      <vt:lpstr>sidebars</vt:lpstr>
      <vt:lpstr>Office Theme</vt:lpstr>
      <vt:lpstr>think-cell Slide</vt:lpstr>
      <vt:lpstr>Photo Editor Photo</vt:lpstr>
      <vt:lpstr>Job Corps Center Physician Monthly Teleconference</vt:lpstr>
      <vt:lpstr>PowerPoint Presentation</vt:lpstr>
      <vt:lpstr>CDC Dashboard ED Visits for Tick Bites :</vt:lpstr>
      <vt:lpstr>CDC Dashboard ED Visits for Tick Bites :</vt:lpstr>
      <vt:lpstr>CDC Dashboard Reported Cases Tickborne Disease:</vt:lpstr>
      <vt:lpstr> Borrelioses (Lyme Disease):</vt:lpstr>
      <vt:lpstr> Borrelioses (Lyme Disease):</vt:lpstr>
      <vt:lpstr> Tickborne Relapsing Fevers (Borrelia):</vt:lpstr>
      <vt:lpstr> Tickborne Relapsing Fevers (Borrelia hermsii, B. turicatae):</vt:lpstr>
      <vt:lpstr> Rickettsioses- Anaplasmosis:</vt:lpstr>
      <vt:lpstr> Rickettsioses- Anaplasmosis:</vt:lpstr>
      <vt:lpstr> Rickettsioses- Ehrlichiosis:</vt:lpstr>
      <vt:lpstr> Rickettsioses- Ehrlichiosis:</vt:lpstr>
      <vt:lpstr> Tularemia- Francisella tularensis:</vt:lpstr>
      <vt:lpstr> Tularemia- Francisella tularensis:</vt:lpstr>
      <vt:lpstr> Babesiosis (parasitic):</vt:lpstr>
      <vt:lpstr> Babesiosis (parasitic):</vt:lpstr>
      <vt:lpstr>Tickborne Arboviruses in the U.S.:</vt:lpstr>
      <vt:lpstr>Tickborne Arboviruses in the U.S.:</vt:lpstr>
      <vt:lpstr>Powassan Viral Disease:</vt:lpstr>
      <vt:lpstr>Powassan Viral Disease:</vt:lpstr>
      <vt:lpstr>Colorado Tick Fever:</vt:lpstr>
      <vt:lpstr>Colorado Tick Fever:</vt:lpstr>
      <vt:lpstr>Heartland Virus:</vt:lpstr>
      <vt:lpstr>Heartland Virus:</vt:lpstr>
      <vt:lpstr>Bourbon Viral Disease:</vt:lpstr>
      <vt:lpstr>Bourbon Viral Disease:</vt:lpstr>
      <vt:lpstr>Consider Tickborne Disease if:</vt:lpstr>
      <vt:lpstr>Prevention of Tickborne Disease:</vt:lpstr>
      <vt:lpstr>Prevention of Tickborne Disease:</vt:lpstr>
      <vt:lpstr>PowerPoint Presentation</vt:lpstr>
      <vt:lpstr>Clinical presentation of tuberculosis (TB)</vt:lpstr>
      <vt:lpstr>Tuberculin testing</vt:lpstr>
      <vt:lpstr>Tuberculin testing</vt:lpstr>
      <vt:lpstr>Disease of the month - Case presentation</vt:lpstr>
      <vt:lpstr>Clinical features of EBV infection/mononucleo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iagnostic studies in mononucleosis</vt:lpstr>
      <vt:lpstr>PowerPoint Presentation</vt:lpstr>
      <vt:lpstr>PowerPoint Presentation</vt:lpstr>
      <vt:lpstr>Complications of Epstein-Barr Virus infection</vt:lpstr>
      <vt:lpstr>Neurologic complications of EBV infection</vt:lpstr>
      <vt:lpstr>PowerPoint Presentation</vt:lpstr>
      <vt:lpstr>Treatment of mononucleosis</vt:lpstr>
      <vt:lpstr>Treatment Guidelines: Mononucleosis</vt:lpstr>
      <vt:lpstr>Treatment Guidelines: Mononucleosis</vt:lpstr>
      <vt:lpstr>Open Forum</vt:lpstr>
      <vt:lpstr>                              Regional Medical Specialists Contact us with policy or clinical questions</vt:lpstr>
      <vt:lpstr>                         Monthly Teleconfere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b Corps Center Physicians Monthly Teleconference</dc:title>
  <dc:creator>Sara Mackenzie</dc:creator>
  <cp:lastModifiedBy>Carolina Valdenegro</cp:lastModifiedBy>
  <cp:revision>601</cp:revision>
  <dcterms:created xsi:type="dcterms:W3CDTF">2021-01-27T15:35:33Z</dcterms:created>
  <dcterms:modified xsi:type="dcterms:W3CDTF">2024-05-29T20:4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21BBDD672BAB240AE25E8C18386348A</vt:lpwstr>
  </property>
  <property fmtid="{D5CDD505-2E9C-101B-9397-08002B2CF9AE}" pid="3" name="_dlc_DocIdItemGuid">
    <vt:lpwstr>3c44b3b6-ff6e-4239-9c23-12a1dd638b6d</vt:lpwstr>
  </property>
</Properties>
</file>